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8"/>
  </p:notesMasterIdLst>
  <p:sldIdLst>
    <p:sldId id="627" r:id="rId2"/>
    <p:sldId id="623" r:id="rId3"/>
    <p:sldId id="628" r:id="rId4"/>
    <p:sldId id="629" r:id="rId5"/>
    <p:sldId id="631" r:id="rId6"/>
    <p:sldId id="688" r:id="rId7"/>
    <p:sldId id="625" r:id="rId8"/>
    <p:sldId id="635" r:id="rId9"/>
    <p:sldId id="626" r:id="rId10"/>
    <p:sldId id="642" r:id="rId11"/>
    <p:sldId id="643" r:id="rId12"/>
    <p:sldId id="644" r:id="rId13"/>
    <p:sldId id="646" r:id="rId14"/>
    <p:sldId id="647" r:id="rId15"/>
    <p:sldId id="648" r:id="rId16"/>
    <p:sldId id="649" r:id="rId17"/>
    <p:sldId id="650" r:id="rId18"/>
    <p:sldId id="659" r:id="rId19"/>
    <p:sldId id="595" r:id="rId20"/>
    <p:sldId id="671" r:id="rId21"/>
    <p:sldId id="672" r:id="rId22"/>
    <p:sldId id="588" r:id="rId23"/>
    <p:sldId id="618" r:id="rId24"/>
    <p:sldId id="619" r:id="rId25"/>
    <p:sldId id="620" r:id="rId26"/>
    <p:sldId id="617" r:id="rId27"/>
    <p:sldId id="673" r:id="rId28"/>
    <p:sldId id="674" r:id="rId29"/>
    <p:sldId id="675" r:id="rId30"/>
    <p:sldId id="676" r:id="rId31"/>
    <p:sldId id="677" r:id="rId32"/>
    <p:sldId id="678" r:id="rId33"/>
    <p:sldId id="679" r:id="rId34"/>
    <p:sldId id="655" r:id="rId35"/>
    <p:sldId id="656" r:id="rId36"/>
    <p:sldId id="695" r:id="rId37"/>
  </p:sldIdLst>
  <p:sldSz cx="9144000" cy="6858000" type="screen4x3"/>
  <p:notesSz cx="6735763" cy="9866313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  <a:srgbClr val="804B40"/>
    <a:srgbClr val="FFCC99"/>
    <a:srgbClr val="FFD1D1"/>
    <a:srgbClr val="775049"/>
    <a:srgbClr val="333399"/>
    <a:srgbClr val="FF6600"/>
    <a:srgbClr val="FF9393"/>
    <a:srgbClr val="FF00FF"/>
    <a:srgbClr val="CC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01" autoAdjust="0"/>
    <p:restoredTop sz="95993" autoAdjust="0"/>
  </p:normalViewPr>
  <p:slideViewPr>
    <p:cSldViewPr snapToGrid="0">
      <p:cViewPr>
        <p:scale>
          <a:sx n="80" d="100"/>
          <a:sy n="80" d="100"/>
        </p:scale>
        <p:origin x="-948" y="96"/>
      </p:cViewPr>
      <p:guideLst>
        <p:guide orient="horz" pos="799"/>
        <p:guide orient="horz" pos="482"/>
        <p:guide orient="horz" pos="1933"/>
        <p:guide orient="horz" pos="119"/>
        <p:guide orient="horz" pos="1253"/>
        <p:guide orient="horz" pos="4065"/>
        <p:guide pos="5602"/>
        <p:guide pos="15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-1734" y="-102"/>
      </p:cViewPr>
      <p:guideLst>
        <p:guide orient="horz" pos="3107"/>
        <p:guide pos="212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4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4" tIns="45498" rIns="90994" bIns="45498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763" y="0"/>
            <a:ext cx="2919412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4" tIns="45498" rIns="90994" bIns="45498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 altLang="ja-JP"/>
          </a:p>
        </p:txBody>
      </p:sp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39775"/>
            <a:ext cx="4932362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6300"/>
            <a:ext cx="5389563" cy="444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4" tIns="45498" rIns="90994" bIns="454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 noProof="0" smtClean="0"/>
              <a:t>Click to edit Master text styles</a:t>
            </a:r>
          </a:p>
          <a:p>
            <a:pPr lvl="1"/>
            <a:r>
              <a:rPr lang="en-GB" altLang="ja-JP" noProof="0" smtClean="0"/>
              <a:t>Second level</a:t>
            </a:r>
          </a:p>
          <a:p>
            <a:pPr lvl="2"/>
            <a:r>
              <a:rPr lang="en-GB" altLang="ja-JP" noProof="0" smtClean="0"/>
              <a:t>Third level</a:t>
            </a:r>
          </a:p>
          <a:p>
            <a:pPr lvl="3"/>
            <a:r>
              <a:rPr lang="en-GB" altLang="ja-JP" noProof="0" smtClean="0"/>
              <a:t>Fourth level</a:t>
            </a:r>
          </a:p>
          <a:p>
            <a:pPr lvl="4"/>
            <a:r>
              <a:rPr lang="en-GB" altLang="ja-JP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9425"/>
            <a:ext cx="29194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4" tIns="45498" rIns="90994" bIns="45498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763" y="9369425"/>
            <a:ext cx="2919412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4" tIns="45498" rIns="90994" bIns="45498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Arial" charset="0"/>
              </a:defRPr>
            </a:lvl1pPr>
          </a:lstStyle>
          <a:p>
            <a:pPr>
              <a:defRPr/>
            </a:pPr>
            <a:fld id="{84FBE99D-3E97-4FE5-8DBA-A5D9BF808BEE}" type="slidenum">
              <a:rPr lang="ja-JP" altLang="en-GB"/>
              <a:pPr>
                <a:defRPr/>
              </a:pPr>
              <a:t>‹#›</a:t>
            </a:fld>
            <a:endParaRPr lang="en-GB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GB" dirty="0" smtClean="0">
                <a:latin typeface="Arial" pitchFamily="34" charset="0"/>
              </a:rPr>
              <a:t>Globally we see the research environment becoming more output focused, with a growing need for metrics. Access remains an important topic in many markets, from alternative publishing models to securing blanket access to scientific output for all researchers in a country.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157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83AC78-E457-45C4-9337-B5817028FF31}" type="slidenum">
              <a:rPr lang="en-GB" smtClean="0">
                <a:solidFill>
                  <a:srgbClr val="000000"/>
                </a:solidFill>
                <a:latin typeface="Arial Narrow" pitchFamily="34" charset="0"/>
              </a:rPr>
              <a:pPr/>
              <a:t>2</a:t>
            </a:fld>
            <a:endParaRPr lang="en-GB" smtClean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Picture1crop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0063" y="28575"/>
            <a:ext cx="3529012" cy="261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1" descr="Elsevier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11988" y="4843463"/>
            <a:ext cx="1944687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4924425"/>
            <a:ext cx="5867400" cy="482600"/>
          </a:xfrm>
        </p:spPr>
        <p:txBody>
          <a:bodyPr/>
          <a:lstStyle>
            <a:lvl1pPr marL="0" indent="0">
              <a:buFont typeface="Times" pitchFamily="18" charset="0"/>
              <a:buNone/>
              <a:defRPr sz="3200"/>
            </a:lvl1pPr>
          </a:lstStyle>
          <a:p>
            <a:r>
              <a:rPr lang="en-GB" altLang="ja-JP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AEC9D5BB-77F9-4286-B3FD-C933FE3BE969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61150" y="0"/>
            <a:ext cx="2087563" cy="6165850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95288" y="0"/>
            <a:ext cx="6113462" cy="6165850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3CF6D69D-CA94-44B9-9229-C5AB73703596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1cro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56100" y="0"/>
            <a:ext cx="4089400" cy="303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Elsevi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05838" y="6310313"/>
            <a:ext cx="503237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3781425"/>
            <a:ext cx="5867400" cy="1016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4924425"/>
            <a:ext cx="5867400" cy="482600"/>
          </a:xfrm>
        </p:spPr>
        <p:txBody>
          <a:bodyPr/>
          <a:lstStyle>
            <a:lvl1pPr marL="0" indent="0">
              <a:buFont typeface="Times" pitchFamily="18" charset="0"/>
              <a:buNone/>
              <a:defRPr sz="3200"/>
            </a:lvl1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06264"/>
            <a:ext cx="8643998" cy="11939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60000" y="1500174"/>
            <a:ext cx="8643998" cy="5000660"/>
          </a:xfrm>
        </p:spPr>
        <p:txBody>
          <a:bodyPr/>
          <a:lstStyle>
            <a:lvl1pPr>
              <a:lnSpc>
                <a:spcPct val="130000"/>
              </a:lnSpc>
              <a:def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Arial" charset="0"/>
                <a:ea typeface="+mn-ea"/>
                <a:cs typeface="Arial" pitchFamily="34" charset="0"/>
              </a:defRPr>
            </a:lvl1pPr>
            <a:lvl2pPr>
              <a:lnSpc>
                <a:spcPct val="130000"/>
              </a:lnSpc>
              <a:defRPr>
                <a:solidFill>
                  <a:srgbClr val="5F5F5F"/>
                </a:solidFill>
              </a:defRPr>
            </a:lvl2pPr>
            <a:lvl3pPr>
              <a:defRPr sz="18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580590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0"/>
          </p:nvPr>
        </p:nvSpPr>
        <p:spPr>
          <a:xfrm>
            <a:off x="8723313" y="6592888"/>
            <a:ext cx="515937" cy="365125"/>
          </a:xfrm>
        </p:spPr>
        <p:txBody>
          <a:bodyPr/>
          <a:lstStyle>
            <a:lvl1pPr>
              <a:defRPr sz="1100" b="0"/>
            </a:lvl1pPr>
          </a:lstStyle>
          <a:p>
            <a:pPr>
              <a:defRPr/>
            </a:pPr>
            <a:fld id="{B01D1007-CEE3-43A3-8F32-9475A880A0DA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DC5CEF64-C953-4F1A-A510-43ECE5EB9D45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395288" y="1125538"/>
            <a:ext cx="4100512" cy="5040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100513" cy="5040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E2995B3E-9777-4AE5-B4AD-9A79D94887B0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1C85A305-F557-4B1E-A2B5-4DCDFD0156FE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639AF918-332D-4524-8C5E-0AC191E7531D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D4DE135F-61B8-4A4F-BBC3-1B43DC0540CF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830630FC-904F-4921-AB67-E2E8F632A54D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969696"/>
                </a:solidFill>
              </a:defRPr>
            </a:lvl1pPr>
          </a:lstStyle>
          <a:p>
            <a:pPr>
              <a:defRPr/>
            </a:pPr>
            <a:fld id="{EAF56C25-9B62-4FF4-8518-D408C15C8883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0" name="Rectangle 20"/>
          <p:cNvSpPr>
            <a:spLocks noChangeArrowheads="1"/>
          </p:cNvSpPr>
          <p:nvPr/>
        </p:nvSpPr>
        <p:spPr bwMode="auto">
          <a:xfrm rot="5400000">
            <a:off x="4153693" y="-4153693"/>
            <a:ext cx="836613" cy="9144000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>
              <a:lnSpc>
                <a:spcPct val="130000"/>
              </a:lnSpc>
              <a:buClr>
                <a:srgbClr val="000000"/>
              </a:buClr>
              <a:defRPr/>
            </a:pPr>
            <a:endParaRPr lang="ja-JP" altLang="en-US" b="1">
              <a:ea typeface="ＭＳ Ｐゴシック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0"/>
            <a:ext cx="8353425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altLang="ja-JP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125538"/>
            <a:ext cx="8353425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 smtClean="0"/>
              <a:t>Click to edit Master text styles</a:t>
            </a:r>
          </a:p>
          <a:p>
            <a:pPr lvl="1"/>
            <a:r>
              <a:rPr lang="en-GB" altLang="ja-JP" smtClean="0"/>
              <a:t>Second level</a:t>
            </a:r>
          </a:p>
          <a:p>
            <a:pPr lvl="2"/>
            <a:r>
              <a:rPr lang="en-GB" altLang="ja-JP" smtClean="0"/>
              <a:t>Third level</a:t>
            </a:r>
          </a:p>
          <a:p>
            <a:pPr lvl="3"/>
            <a:r>
              <a:rPr lang="en-GB" altLang="ja-JP" smtClean="0"/>
              <a:t>Fourth level</a:t>
            </a:r>
          </a:p>
          <a:p>
            <a:pPr lvl="4"/>
            <a:r>
              <a:rPr lang="en-GB" altLang="ja-JP" smtClean="0"/>
              <a:t>Fifth level</a:t>
            </a:r>
          </a:p>
        </p:txBody>
      </p:sp>
      <p:sp>
        <p:nvSpPr>
          <p:cNvPr id="30730" name="AutoShape 10" descr="2A1B9418-5190-449E-9A15-4730740E9A2D@owg"/>
          <p:cNvSpPr>
            <a:spLocks noChangeAspect="1" noChangeArrowheads="1"/>
          </p:cNvSpPr>
          <p:nvPr/>
        </p:nvSpPr>
        <p:spPr bwMode="auto">
          <a:xfrm>
            <a:off x="2638425" y="1514475"/>
            <a:ext cx="3867150" cy="3829050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ct val="130000"/>
              </a:lnSpc>
              <a:buClr>
                <a:srgbClr val="000000"/>
              </a:buClr>
              <a:defRPr/>
            </a:pPr>
            <a:endParaRPr lang="ja-JP" altLang="en-US" b="1">
              <a:ea typeface="ＭＳ Ｐゴシック" charset="-128"/>
            </a:endParaRPr>
          </a:p>
        </p:txBody>
      </p:sp>
      <p:sp>
        <p:nvSpPr>
          <p:cNvPr id="30732" name="AutoShape 12" descr="2A1B9418-5190-449E-9A15-4730740E9A2D@owg"/>
          <p:cNvSpPr>
            <a:spLocks noChangeAspect="1" noChangeArrowheads="1"/>
          </p:cNvSpPr>
          <p:nvPr/>
        </p:nvSpPr>
        <p:spPr bwMode="auto">
          <a:xfrm>
            <a:off x="2638425" y="1514475"/>
            <a:ext cx="3867150" cy="3829050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ct val="130000"/>
              </a:lnSpc>
              <a:buClr>
                <a:srgbClr val="000000"/>
              </a:buClr>
              <a:defRPr/>
            </a:pPr>
            <a:endParaRPr lang="ja-JP" altLang="en-US" b="1">
              <a:ea typeface="ＭＳ Ｐゴシック" charset="-128"/>
            </a:endParaRPr>
          </a:p>
        </p:txBody>
      </p:sp>
      <p:sp>
        <p:nvSpPr>
          <p:cNvPr id="30742" name="Line 22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>
              <a:lnSpc>
                <a:spcPct val="130000"/>
              </a:lnSpc>
              <a:buClr>
                <a:srgbClr val="000000"/>
              </a:buClr>
              <a:defRPr/>
            </a:pPr>
            <a:endParaRPr lang="ja-JP" altLang="en-US" b="1"/>
          </a:p>
        </p:txBody>
      </p:sp>
      <p:sp>
        <p:nvSpPr>
          <p:cNvPr id="8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8629650" y="6492875"/>
            <a:ext cx="5143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30000"/>
              </a:lnSpc>
              <a:buClr>
                <a:srgbClr val="000000"/>
              </a:buClr>
              <a:defRPr kumimoji="1" sz="1200" b="1">
                <a:ea typeface="ＭＳ Ｐゴシック" charset="-128"/>
              </a:defRPr>
            </a:lvl1pPr>
          </a:lstStyle>
          <a:p>
            <a:pPr>
              <a:defRPr/>
            </a:pPr>
            <a:fld id="{8F767DE3-49E5-4CE0-BA63-DEAF3F4D4BBB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9pPr>
    </p:titleStyle>
    <p:bodyStyle>
      <a:lvl1pPr marL="177800" indent="-177800" algn="l" rtl="0" eaLnBrk="0" fontAlgn="base" hangingPunct="0">
        <a:spcBef>
          <a:spcPct val="6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5334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3pPr>
      <a:lvl4pPr marL="7112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8890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5pPr>
      <a:lvl6pPr marL="13462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6pPr>
      <a:lvl7pPr marL="18034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7pPr>
      <a:lvl8pPr marL="22606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8pPr>
      <a:lvl9pPr marL="27178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jpeg"/><Relationship Id="rId9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7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>
          <a:xfrm>
            <a:off x="457199" y="4022891"/>
            <a:ext cx="8496795" cy="1016000"/>
          </a:xfrm>
        </p:spPr>
        <p:txBody>
          <a:bodyPr/>
          <a:lstStyle/>
          <a:p>
            <a:pPr eaLnBrk="1" hangingPunct="1"/>
            <a:r>
              <a:rPr lang="en-US" sz="3200" dirty="0" smtClean="0">
                <a:solidFill>
                  <a:schemeClr val="tx1"/>
                </a:solidFill>
              </a:rPr>
              <a:t>SciVal - </a:t>
            </a:r>
            <a:br>
              <a:rPr lang="en-US" sz="3200" dirty="0" smtClean="0">
                <a:solidFill>
                  <a:schemeClr val="tx1"/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Making data more visible and accessible for effective research management</a:t>
            </a:r>
            <a:br>
              <a:rPr lang="en-US" sz="3200" dirty="0" smtClean="0">
                <a:solidFill>
                  <a:schemeClr val="tx1"/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/>
            </a:r>
            <a:br>
              <a:rPr lang="en-US" sz="3200" dirty="0" smtClean="0">
                <a:solidFill>
                  <a:schemeClr val="tx1"/>
                </a:solidFill>
              </a:rPr>
            </a:br>
            <a:r>
              <a:rPr lang="en-US" sz="2400" i="1" dirty="0" smtClean="0">
                <a:solidFill>
                  <a:schemeClr val="tx1"/>
                </a:solidFill>
              </a:rPr>
              <a:t>" </a:t>
            </a:r>
            <a:r>
              <a:rPr lang="en-US" sz="2400" i="1" dirty="0" err="1" smtClean="0">
                <a:solidFill>
                  <a:schemeClr val="tx1"/>
                </a:solidFill>
              </a:rPr>
              <a:t>Bilimsel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 err="1" smtClean="0">
                <a:solidFill>
                  <a:schemeClr val="tx1"/>
                </a:solidFill>
              </a:rPr>
              <a:t>Araştırmalarda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 err="1" smtClean="0">
                <a:solidFill>
                  <a:schemeClr val="tx1"/>
                </a:solidFill>
              </a:rPr>
              <a:t>Performans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 err="1" smtClean="0">
                <a:solidFill>
                  <a:schemeClr val="tx1"/>
                </a:solidFill>
              </a:rPr>
              <a:t>Değerlendirme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 err="1" smtClean="0">
                <a:solidFill>
                  <a:schemeClr val="tx1"/>
                </a:solidFill>
              </a:rPr>
              <a:t>ve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 err="1" smtClean="0">
                <a:solidFill>
                  <a:schemeClr val="tx1"/>
                </a:solidFill>
              </a:rPr>
              <a:t>Rekabet</a:t>
            </a:r>
            <a:r>
              <a:rPr lang="en-US" sz="2400" i="1" dirty="0" smtClean="0">
                <a:solidFill>
                  <a:schemeClr val="tx1"/>
                </a:solidFill>
              </a:rPr>
              <a:t>"</a:t>
            </a:r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3075" name="Subtitle 2"/>
          <p:cNvSpPr>
            <a:spLocks noGrp="1"/>
          </p:cNvSpPr>
          <p:nvPr>
            <p:ph type="subTitle" idx="1"/>
          </p:nvPr>
        </p:nvSpPr>
        <p:spPr>
          <a:xfrm>
            <a:off x="540546" y="5400255"/>
            <a:ext cx="8698831" cy="782054"/>
          </a:xfrm>
        </p:spPr>
        <p:txBody>
          <a:bodyPr/>
          <a:lstStyle/>
          <a:p>
            <a:pPr eaLnBrk="1" hangingPunct="1"/>
            <a:r>
              <a:rPr lang="en-US" sz="2000" i="1" dirty="0" smtClean="0"/>
              <a:t>Sherif ELShamy</a:t>
            </a:r>
          </a:p>
          <a:p>
            <a:pPr eaLnBrk="1" hangingPunct="1"/>
            <a:r>
              <a:rPr lang="en-US" sz="2000" i="1" dirty="0" smtClean="0"/>
              <a:t>Product Sales Manager – Africa, Middle East, Turkey, Iran &amp; Central Asia.</a:t>
            </a:r>
            <a:br>
              <a:rPr lang="en-US" sz="2000" i="1" dirty="0" smtClean="0"/>
            </a:br>
            <a:r>
              <a:rPr lang="en-US" sz="2000" i="1" dirty="0" smtClean="0"/>
              <a:t>May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165100"/>
            <a:ext cx="8643998" cy="836712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SCIVAL SPOTLIGHT – HOME PAG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520" y="1117129"/>
            <a:ext cx="7680960" cy="5201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203200"/>
            <a:ext cx="8643998" cy="908720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STATISTIC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4946" y="1167929"/>
            <a:ext cx="8014109" cy="5201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Rounded Rectangle 3"/>
          <p:cNvSpPr/>
          <p:nvPr/>
        </p:nvSpPr>
        <p:spPr bwMode="auto">
          <a:xfrm>
            <a:off x="3186740" y="4548250"/>
            <a:ext cx="304605" cy="546264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93850"/>
            <a:ext cx="8643998" cy="764704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STATISTICS ... CONTINUE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0050" y="1114277"/>
            <a:ext cx="8229600" cy="51852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ounded Rectangle 4"/>
          <p:cNvSpPr/>
          <p:nvPr/>
        </p:nvSpPr>
        <p:spPr bwMode="auto">
          <a:xfrm>
            <a:off x="2778826" y="3918858"/>
            <a:ext cx="593765" cy="831272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753101" y="2634383"/>
            <a:ext cx="1332011" cy="831272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198780"/>
            <a:ext cx="8643998" cy="836712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Top Countries in the Worl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7663" y="983780"/>
            <a:ext cx="8448675" cy="5588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ounded Rectangle 4"/>
          <p:cNvSpPr/>
          <p:nvPr/>
        </p:nvSpPr>
        <p:spPr bwMode="auto">
          <a:xfrm>
            <a:off x="543464" y="5624426"/>
            <a:ext cx="6249222" cy="234392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132520"/>
            <a:ext cx="8643998" cy="764704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Countries Graph...Based on No of Article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4424" y="1114424"/>
            <a:ext cx="8649151" cy="54495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Rounded Rectangle 3"/>
          <p:cNvSpPr/>
          <p:nvPr/>
        </p:nvSpPr>
        <p:spPr bwMode="auto">
          <a:xfrm>
            <a:off x="7556740" y="4675516"/>
            <a:ext cx="327803" cy="293299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638" y="1003449"/>
            <a:ext cx="8848725" cy="57200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0363" y="-201705"/>
            <a:ext cx="8643937" cy="836712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Top Countries in the World ... Based on Growt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53690" y="3580064"/>
            <a:ext cx="6249222" cy="234392"/>
          </a:xfrm>
          <a:prstGeom prst="roundRect">
            <a:avLst>
              <a:gd name="adj" fmla="val 38749"/>
            </a:avLst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9139" y="1040929"/>
            <a:ext cx="8845723" cy="55734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0000" y="0"/>
            <a:ext cx="8643998" cy="692696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Countries Graph...Based on Growt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735422" y="4779028"/>
            <a:ext cx="327803" cy="293299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107576"/>
            <a:ext cx="8643998" cy="764704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Turkish Institution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648" y="1094782"/>
            <a:ext cx="8616705" cy="5429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ounded Rectangle 4"/>
          <p:cNvSpPr/>
          <p:nvPr/>
        </p:nvSpPr>
        <p:spPr bwMode="auto">
          <a:xfrm>
            <a:off x="457202" y="3277290"/>
            <a:ext cx="3046019" cy="653442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57201" y="2956956"/>
            <a:ext cx="3010394" cy="200914"/>
          </a:xfrm>
          <a:prstGeom prst="roundRect">
            <a:avLst/>
          </a:prstGeom>
          <a:noFill/>
          <a:ln w="317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-79512"/>
            <a:ext cx="8643998" cy="764704"/>
          </a:xfrm>
        </p:spPr>
        <p:txBody>
          <a:bodyPr/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Turkish Institutions 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763" y="919961"/>
            <a:ext cx="7610475" cy="58094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図 19" descr="Turkey_2009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5707" y="878226"/>
            <a:ext cx="8100000" cy="5648178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459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-174811"/>
            <a:ext cx="8748712" cy="836613"/>
          </a:xfrm>
        </p:spPr>
        <p:txBody>
          <a:bodyPr/>
          <a:lstStyle/>
          <a:p>
            <a:pPr marL="355600" indent="-355600" eaLnBrk="1" hangingPunct="1"/>
            <a:r>
              <a:rPr lang="en-US" altLang="ja-JP" dirty="0" smtClean="0">
                <a:latin typeface="+mn-lt"/>
                <a:ea typeface="ＭＳ Ｐゴシック" charset="-128"/>
                <a:cs typeface="Arial" charset="0"/>
              </a:rPr>
              <a:t>Turkey’s National Strengths</a:t>
            </a:r>
            <a:endParaRPr lang="en-US" altLang="ja-JP" b="0" dirty="0" smtClean="0">
              <a:latin typeface="+mn-lt"/>
              <a:ea typeface="ＭＳ Ｐゴシック" charset="-128"/>
              <a:cs typeface="Arial" charset="0"/>
            </a:endParaRPr>
          </a:p>
        </p:txBody>
      </p:sp>
      <p:sp>
        <p:nvSpPr>
          <p:cNvPr id="19460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B3841EEA-EBDE-4845-AE0E-FDDECD5FCD95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19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19461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lnSpc>
                <a:spcPct val="130000"/>
              </a:lnSpc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Source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9462" name="正方形/長方形 33"/>
          <p:cNvSpPr>
            <a:spLocks noChangeArrowheads="1"/>
          </p:cNvSpPr>
          <p:nvPr/>
        </p:nvSpPr>
        <p:spPr bwMode="auto">
          <a:xfrm>
            <a:off x="6259513" y="920750"/>
            <a:ext cx="922337" cy="117475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/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ja-JP" altLang="en-US" b="1">
              <a:ea typeface="ＭＳ Ｐゴシック" charset="-128"/>
            </a:endParaRPr>
          </a:p>
        </p:txBody>
      </p:sp>
      <p:sp>
        <p:nvSpPr>
          <p:cNvPr id="23" name="角丸四角形 22"/>
          <p:cNvSpPr/>
          <p:nvPr/>
        </p:nvSpPr>
        <p:spPr bwMode="auto">
          <a:xfrm>
            <a:off x="2823462" y="3231307"/>
            <a:ext cx="1612900" cy="698500"/>
          </a:xfrm>
          <a:prstGeom prst="roundRect">
            <a:avLst>
              <a:gd name="adj" fmla="val 13464"/>
            </a:avLst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buClr>
                <a:srgbClr val="000000"/>
              </a:buClr>
              <a:defRPr/>
            </a:pPr>
            <a:r>
              <a:rPr lang="en-US" altLang="ja-JP" sz="1100" dirty="0">
                <a:latin typeface="Arial" charset="0"/>
                <a:ea typeface="ＭＳ Ｐゴシック" charset="-128"/>
              </a:rPr>
              <a:t>Competencies with</a:t>
            </a:r>
            <a:br>
              <a:rPr lang="en-US" altLang="ja-JP" sz="1100" dirty="0">
                <a:latin typeface="Arial" charset="0"/>
                <a:ea typeface="ＭＳ Ｐゴシック" charset="-128"/>
              </a:rPr>
            </a:br>
            <a:r>
              <a:rPr lang="en-US" altLang="ja-JP" sz="1100" u="sng" dirty="0">
                <a:latin typeface="Arial" charset="0"/>
                <a:ea typeface="ＭＳ Ｐゴシック" charset="-128"/>
              </a:rPr>
              <a:t>multiple colored lines </a:t>
            </a:r>
            <a:r>
              <a:rPr lang="en-US" altLang="ja-JP" sz="1100" dirty="0">
                <a:latin typeface="Arial" charset="0"/>
                <a:ea typeface="ＭＳ Ｐゴシック" charset="-128"/>
              </a:rPr>
              <a:t/>
            </a:r>
            <a:br>
              <a:rPr lang="en-US" altLang="ja-JP" sz="1100" dirty="0">
                <a:latin typeface="Arial" charset="0"/>
                <a:ea typeface="ＭＳ Ｐゴシック" charset="-128"/>
              </a:rPr>
            </a:br>
            <a:r>
              <a:rPr lang="en-US" altLang="ja-JP" sz="1100" dirty="0">
                <a:latin typeface="Arial" charset="0"/>
                <a:ea typeface="ＭＳ Ｐゴシック" charset="-128"/>
              </a:rPr>
              <a:t>are </a:t>
            </a:r>
            <a:r>
              <a:rPr lang="en-US" altLang="ja-JP" sz="1100" b="1" dirty="0">
                <a:solidFill>
                  <a:srgbClr val="C00000"/>
                </a:solidFill>
                <a:latin typeface="Arial" charset="0"/>
                <a:ea typeface="ＭＳ Ｐゴシック" charset="-128"/>
              </a:rPr>
              <a:t>multi-disciplinary</a:t>
            </a:r>
            <a:r>
              <a:rPr lang="en-US" altLang="ja-JP" sz="1100" dirty="0">
                <a:latin typeface="Arial" charset="0"/>
                <a:ea typeface="ＭＳ Ｐゴシック" charset="-128"/>
              </a:rPr>
              <a:t/>
            </a:r>
            <a:br>
              <a:rPr lang="en-US" altLang="ja-JP" sz="1100" dirty="0">
                <a:latin typeface="Arial" charset="0"/>
                <a:ea typeface="ＭＳ Ｐゴシック" charset="-128"/>
              </a:rPr>
            </a:br>
            <a:r>
              <a:rPr lang="en-US" altLang="ja-JP" sz="1100" dirty="0">
                <a:latin typeface="Arial" charset="0"/>
                <a:ea typeface="ＭＳ Ｐゴシック" charset="-128"/>
              </a:rPr>
              <a:t>research areas</a:t>
            </a:r>
          </a:p>
        </p:txBody>
      </p:sp>
      <p:sp>
        <p:nvSpPr>
          <p:cNvPr id="19465" name="Rectangle 9"/>
          <p:cNvSpPr>
            <a:spLocks noChangeArrowheads="1"/>
          </p:cNvSpPr>
          <p:nvPr/>
        </p:nvSpPr>
        <p:spPr bwMode="auto">
          <a:xfrm>
            <a:off x="5095875" y="1685343"/>
            <a:ext cx="1439863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7030A0"/>
                </a:solidFill>
                <a:latin typeface="Arial" charset="0"/>
                <a:ea typeface="ＭＳ Ｐゴシック" charset="-128"/>
              </a:rPr>
              <a:t>Physics/Math</a:t>
            </a:r>
            <a:endParaRPr lang="ja-JP" altLang="en-US" b="1">
              <a:solidFill>
                <a:srgbClr val="7030A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66" name="Rectangle 10"/>
          <p:cNvSpPr>
            <a:spLocks noChangeArrowheads="1"/>
          </p:cNvSpPr>
          <p:nvPr/>
        </p:nvSpPr>
        <p:spPr bwMode="auto">
          <a:xfrm>
            <a:off x="6176963" y="2498725"/>
            <a:ext cx="1001712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 dirty="0">
                <a:solidFill>
                  <a:srgbClr val="0070C0"/>
                </a:solidFill>
                <a:latin typeface="Arial" charset="0"/>
                <a:ea typeface="ＭＳ Ｐゴシック" charset="-128"/>
              </a:rPr>
              <a:t>Chemistry</a:t>
            </a:r>
            <a:endParaRPr lang="ja-JP" altLang="en-US" b="1" dirty="0">
              <a:solidFill>
                <a:srgbClr val="0070C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67" name="Rectangle 11"/>
          <p:cNvSpPr>
            <a:spLocks noChangeArrowheads="1"/>
          </p:cNvSpPr>
          <p:nvPr/>
        </p:nvSpPr>
        <p:spPr bwMode="auto">
          <a:xfrm>
            <a:off x="6675711" y="3964558"/>
            <a:ext cx="1301750" cy="2921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chemeClr val="accent1"/>
                </a:solidFill>
                <a:latin typeface="Arial" charset="0"/>
                <a:ea typeface="ＭＳ Ｐゴシック" charset="-128"/>
              </a:rPr>
              <a:t>Engineering</a:t>
            </a:r>
            <a:endParaRPr lang="ja-JP" altLang="en-US" b="1">
              <a:solidFill>
                <a:schemeClr val="accent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68" name="Rectangle 12"/>
          <p:cNvSpPr>
            <a:spLocks noChangeArrowheads="1"/>
          </p:cNvSpPr>
          <p:nvPr/>
        </p:nvSpPr>
        <p:spPr bwMode="auto">
          <a:xfrm>
            <a:off x="6469336" y="4686870"/>
            <a:ext cx="1303337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C00000"/>
                </a:solidFill>
                <a:latin typeface="Arial" charset="0"/>
                <a:ea typeface="ＭＳ Ｐゴシック" charset="-128"/>
              </a:rPr>
              <a:t>Earth Science</a:t>
            </a:r>
            <a:endParaRPr lang="ja-JP" altLang="en-US" b="1">
              <a:solidFill>
                <a:srgbClr val="C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69" name="Rectangle 13"/>
          <p:cNvSpPr>
            <a:spLocks noChangeArrowheads="1"/>
          </p:cNvSpPr>
          <p:nvPr/>
        </p:nvSpPr>
        <p:spPr bwMode="auto">
          <a:xfrm>
            <a:off x="6186761" y="5125020"/>
            <a:ext cx="800100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008000"/>
                </a:solidFill>
                <a:latin typeface="Arial" charset="0"/>
                <a:ea typeface="ＭＳ Ｐゴシック" charset="-128"/>
              </a:rPr>
              <a:t>Biology</a:t>
            </a:r>
            <a:endParaRPr lang="ja-JP" altLang="en-US" b="1">
              <a:solidFill>
                <a:srgbClr val="008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0" name="Rectangle 14"/>
          <p:cNvSpPr>
            <a:spLocks noChangeArrowheads="1"/>
          </p:cNvSpPr>
          <p:nvPr/>
        </p:nvSpPr>
        <p:spPr bwMode="auto">
          <a:xfrm>
            <a:off x="5732736" y="5525070"/>
            <a:ext cx="1322387" cy="2921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92D050"/>
                </a:solidFill>
                <a:latin typeface="Arial" charset="0"/>
                <a:ea typeface="ＭＳ Ｐゴシック" charset="-128"/>
              </a:rPr>
              <a:t>Biotechnology</a:t>
            </a:r>
            <a:endParaRPr lang="ja-JP" altLang="en-US" b="1">
              <a:solidFill>
                <a:srgbClr val="92D05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1" name="Rectangle 15"/>
          <p:cNvSpPr>
            <a:spLocks noChangeArrowheads="1"/>
          </p:cNvSpPr>
          <p:nvPr/>
        </p:nvSpPr>
        <p:spPr bwMode="auto">
          <a:xfrm>
            <a:off x="4969148" y="5885433"/>
            <a:ext cx="1800225" cy="2936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C00000"/>
                </a:solidFill>
                <a:latin typeface="Arial" charset="0"/>
                <a:ea typeface="ＭＳ Ｐゴシック" charset="-128"/>
              </a:rPr>
              <a:t>Infectious Disease</a:t>
            </a:r>
            <a:endParaRPr lang="ja-JP" altLang="en-US" b="1">
              <a:solidFill>
                <a:srgbClr val="C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2" name="Rectangle 16"/>
          <p:cNvSpPr>
            <a:spLocks noChangeArrowheads="1"/>
          </p:cNvSpPr>
          <p:nvPr/>
        </p:nvSpPr>
        <p:spPr bwMode="auto">
          <a:xfrm>
            <a:off x="1236667" y="5649905"/>
            <a:ext cx="1816100" cy="2921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r>
              <a:rPr lang="en-US" altLang="ja-JP" b="1" dirty="0">
                <a:solidFill>
                  <a:srgbClr val="FF0000"/>
                </a:solidFill>
                <a:latin typeface="Arial" charset="0"/>
                <a:ea typeface="ＭＳ Ｐゴシック" charset="-128"/>
              </a:rPr>
              <a:t>Medical Specialties</a:t>
            </a:r>
            <a:endParaRPr lang="ja-JP" altLang="en-US" b="1" dirty="0">
              <a:solidFill>
                <a:srgbClr val="FF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3" name="Rectangle 17"/>
          <p:cNvSpPr>
            <a:spLocks noChangeArrowheads="1"/>
          </p:cNvSpPr>
          <p:nvPr/>
        </p:nvSpPr>
        <p:spPr bwMode="auto">
          <a:xfrm>
            <a:off x="836617" y="4495800"/>
            <a:ext cx="1465262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FF6600"/>
                </a:solidFill>
                <a:latin typeface="Arial" charset="0"/>
                <a:ea typeface="ＭＳ Ｐゴシック" charset="-128"/>
              </a:rPr>
              <a:t>Health Science</a:t>
            </a:r>
            <a:endParaRPr lang="ja-JP" altLang="en-US" b="1">
              <a:solidFill>
                <a:srgbClr val="FF66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4" name="Rectangle 18"/>
          <p:cNvSpPr>
            <a:spLocks noChangeArrowheads="1"/>
          </p:cNvSpPr>
          <p:nvPr/>
        </p:nvSpPr>
        <p:spPr bwMode="auto">
          <a:xfrm>
            <a:off x="708029" y="3475038"/>
            <a:ext cx="1465263" cy="2921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r>
              <a:rPr lang="en-US" altLang="ja-JP" b="1" dirty="0">
                <a:solidFill>
                  <a:srgbClr val="FFC000"/>
                </a:solidFill>
                <a:latin typeface="Arial" charset="0"/>
                <a:ea typeface="ＭＳ Ｐゴシック" charset="-128"/>
              </a:rPr>
              <a:t>Brain Research</a:t>
            </a:r>
            <a:endParaRPr lang="ja-JP" altLang="en-US" b="1" dirty="0">
              <a:solidFill>
                <a:srgbClr val="FFC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5" name="Rectangle 19"/>
          <p:cNvSpPr>
            <a:spLocks noChangeArrowheads="1"/>
          </p:cNvSpPr>
          <p:nvPr/>
        </p:nvSpPr>
        <p:spPr bwMode="auto">
          <a:xfrm>
            <a:off x="868367" y="2462213"/>
            <a:ext cx="1439862" cy="2936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chemeClr val="bg2"/>
                </a:solidFill>
                <a:latin typeface="Arial" charset="0"/>
                <a:ea typeface="ＭＳ Ｐゴシック" charset="-128"/>
              </a:rPr>
              <a:t>Social Science</a:t>
            </a:r>
            <a:endParaRPr lang="ja-JP" altLang="en-US" b="1">
              <a:solidFill>
                <a:schemeClr val="bg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476" name="Rectangle 20"/>
          <p:cNvSpPr>
            <a:spLocks noChangeArrowheads="1"/>
          </p:cNvSpPr>
          <p:nvPr/>
        </p:nvSpPr>
        <p:spPr bwMode="auto">
          <a:xfrm>
            <a:off x="1927225" y="1685343"/>
            <a:ext cx="1727200" cy="2936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36000" rIns="72000" bIns="36000" anchor="ctr"/>
          <a:lstStyle/>
          <a:p>
            <a:pPr>
              <a:lnSpc>
                <a:spcPct val="130000"/>
              </a:lnSpc>
              <a:buClr>
                <a:srgbClr val="000000"/>
              </a:buClr>
            </a:pPr>
            <a:r>
              <a:rPr lang="en-US" altLang="ja-JP" b="1">
                <a:solidFill>
                  <a:srgbClr val="FF00FF"/>
                </a:solidFill>
                <a:latin typeface="Arial" charset="0"/>
                <a:ea typeface="ＭＳ Ｐゴシック" charset="-128"/>
              </a:rPr>
              <a:t>Computer Science</a:t>
            </a:r>
            <a:endParaRPr lang="ja-JP" altLang="en-US" b="1">
              <a:solidFill>
                <a:srgbClr val="FF00F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1" name="フリーフォーム 20"/>
          <p:cNvSpPr/>
          <p:nvPr/>
        </p:nvSpPr>
        <p:spPr bwMode="auto">
          <a:xfrm>
            <a:off x="4233672" y="3099816"/>
            <a:ext cx="265176" cy="210312"/>
          </a:xfrm>
          <a:custGeom>
            <a:avLst/>
            <a:gdLst>
              <a:gd name="connsiteX0" fmla="*/ 0 w 265176"/>
              <a:gd name="connsiteY0" fmla="*/ 173736 h 210312"/>
              <a:gd name="connsiteX1" fmla="*/ 265176 w 265176"/>
              <a:gd name="connsiteY1" fmla="*/ 0 h 210312"/>
              <a:gd name="connsiteX2" fmla="*/ 128016 w 265176"/>
              <a:gd name="connsiteY2" fmla="*/ 210312 h 210312"/>
              <a:gd name="connsiteX3" fmla="*/ 128016 w 265176"/>
              <a:gd name="connsiteY3" fmla="*/ 210312 h 21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176" h="210312">
                <a:moveTo>
                  <a:pt x="0" y="173736"/>
                </a:moveTo>
                <a:lnTo>
                  <a:pt x="265176" y="0"/>
                </a:lnTo>
                <a:lnTo>
                  <a:pt x="128016" y="210312"/>
                </a:lnTo>
                <a:lnTo>
                  <a:pt x="128016" y="210312"/>
                </a:lnTo>
              </a:path>
            </a:pathLst>
          </a:custGeom>
          <a:solidFill>
            <a:schemeClr val="bg1"/>
          </a:solidFill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2" name="四角形吹き出し 21"/>
          <p:cNvSpPr/>
          <p:nvPr/>
        </p:nvSpPr>
        <p:spPr bwMode="auto">
          <a:xfrm>
            <a:off x="6430150" y="1379412"/>
            <a:ext cx="1583294" cy="793018"/>
          </a:xfrm>
          <a:prstGeom prst="wedgeRectCallout">
            <a:avLst>
              <a:gd name="adj1" fmla="val -104805"/>
              <a:gd name="adj2" fmla="val 96524"/>
            </a:avLst>
          </a:prstGeom>
          <a:solidFill>
            <a:srgbClr val="C00000"/>
          </a:soli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999999"/>
            </a:outerShdw>
          </a:effectLst>
        </p:spPr>
        <p:txBody>
          <a:bodyPr wrap="none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Research Topics</a:t>
            </a:r>
            <a:b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of Turkey’s</a:t>
            </a:r>
            <a:b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National Strengt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41" imgW="0" imgH="0" progId="">
              <p:embed/>
            </p:oleObj>
          </a:graphicData>
        </a:graphic>
      </p:graphicFrame>
      <p:sp>
        <p:nvSpPr>
          <p:cNvPr id="4099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395288" y="-147917"/>
            <a:ext cx="8353425" cy="836613"/>
          </a:xfrm>
        </p:spPr>
        <p:txBody>
          <a:bodyPr/>
          <a:lstStyle/>
          <a:p>
            <a:r>
              <a:rPr lang="de-DE" dirty="0" smtClean="0"/>
              <a:t>WHAT DO WE HEAR?</a:t>
            </a:r>
          </a:p>
        </p:txBody>
      </p:sp>
      <p:sp>
        <p:nvSpPr>
          <p:cNvPr id="1808386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9300" y="2900363"/>
            <a:ext cx="4437063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8700">
                <a:solidFill>
                  <a:srgbClr val="783F2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ollaboration</a:t>
            </a:r>
          </a:p>
        </p:txBody>
      </p:sp>
      <p:sp>
        <p:nvSpPr>
          <p:cNvPr id="1808387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60513" y="2035175"/>
            <a:ext cx="1069975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000">
                <a:solidFill>
                  <a:srgbClr val="586A27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ompetencies</a:t>
            </a:r>
          </a:p>
        </p:txBody>
      </p:sp>
      <p:sp>
        <p:nvSpPr>
          <p:cNvPr id="1808388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9213" y="2327275"/>
            <a:ext cx="1462087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600">
                <a:solidFill>
                  <a:srgbClr val="B5874B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evaluation</a:t>
            </a:r>
          </a:p>
        </p:txBody>
      </p:sp>
      <p:sp>
        <p:nvSpPr>
          <p:cNvPr id="1808389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70088" y="2768600"/>
            <a:ext cx="16002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400">
                <a:solidFill>
                  <a:srgbClr val="783C2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getting published</a:t>
            </a:r>
          </a:p>
        </p:txBody>
      </p:sp>
      <p:sp>
        <p:nvSpPr>
          <p:cNvPr id="1808390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760788" y="2422525"/>
            <a:ext cx="1147762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700">
                <a:solidFill>
                  <a:srgbClr val="687537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mobility</a:t>
            </a:r>
          </a:p>
        </p:txBody>
      </p:sp>
      <p:sp>
        <p:nvSpPr>
          <p:cNvPr id="1808391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-5400000">
            <a:off x="2853532" y="2031206"/>
            <a:ext cx="774700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200">
                <a:solidFill>
                  <a:srgbClr val="637435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health</a:t>
            </a:r>
          </a:p>
        </p:txBody>
      </p:sp>
      <p:sp>
        <p:nvSpPr>
          <p:cNvPr id="1808392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63700" y="3949700"/>
            <a:ext cx="3694113" cy="101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7800">
                <a:solidFill>
                  <a:srgbClr val="78462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o-authored</a:t>
            </a:r>
          </a:p>
        </p:txBody>
      </p:sp>
      <p:sp>
        <p:nvSpPr>
          <p:cNvPr id="1808393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-5400000">
            <a:off x="5095081" y="3526632"/>
            <a:ext cx="365125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rgbClr val="B28A43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Brazil</a:t>
            </a:r>
          </a:p>
        </p:txBody>
      </p:sp>
      <p:sp>
        <p:nvSpPr>
          <p:cNvPr id="1808394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0800000" flipV="1">
            <a:off x="1984375" y="3871913"/>
            <a:ext cx="9969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000">
                <a:solidFill>
                  <a:srgbClr val="795A30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South Africa</a:t>
            </a:r>
          </a:p>
        </p:txBody>
      </p:sp>
      <p:sp>
        <p:nvSpPr>
          <p:cNvPr id="1808396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-5400000">
            <a:off x="1157287" y="4224338"/>
            <a:ext cx="474663" cy="10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800">
                <a:solidFill>
                  <a:srgbClr val="97A881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research maps</a:t>
            </a:r>
          </a:p>
        </p:txBody>
      </p:sp>
      <p:sp>
        <p:nvSpPr>
          <p:cNvPr id="1808397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-5400000">
            <a:off x="1231900" y="4240213"/>
            <a:ext cx="687388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rgbClr val="581515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brain drain</a:t>
            </a:r>
          </a:p>
        </p:txBody>
      </p:sp>
      <p:sp>
        <p:nvSpPr>
          <p:cNvPr id="1808398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408113" y="4821238"/>
            <a:ext cx="296545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6000">
                <a:solidFill>
                  <a:srgbClr val="30544A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global issues</a:t>
            </a:r>
          </a:p>
        </p:txBody>
      </p:sp>
      <p:sp>
        <p:nvSpPr>
          <p:cNvPr id="1808399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71850" y="5419725"/>
            <a:ext cx="1014413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700">
                <a:solidFill>
                  <a:srgbClr val="687537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access</a:t>
            </a:r>
          </a:p>
        </p:txBody>
      </p:sp>
      <p:sp>
        <p:nvSpPr>
          <p:cNvPr id="1808400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49788" y="5294313"/>
            <a:ext cx="1285875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800">
                <a:solidFill>
                  <a:srgbClr val="B2AC43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ompetition</a:t>
            </a:r>
          </a:p>
        </p:txBody>
      </p:sp>
      <p:sp>
        <p:nvSpPr>
          <p:cNvPr id="1808401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940300" y="4821238"/>
            <a:ext cx="393700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200">
                <a:solidFill>
                  <a:srgbClr val="632925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ROI</a:t>
            </a:r>
          </a:p>
        </p:txBody>
      </p:sp>
      <p:sp>
        <p:nvSpPr>
          <p:cNvPr id="1774610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-5400000">
            <a:off x="4831557" y="3902869"/>
            <a:ext cx="122237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200">
                <a:solidFill>
                  <a:srgbClr val="3F5E61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UK</a:t>
            </a:r>
          </a:p>
        </p:txBody>
      </p:sp>
      <p:sp>
        <p:nvSpPr>
          <p:cNvPr id="1808403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797550" y="4251325"/>
            <a:ext cx="271463" cy="7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600">
                <a:solidFill>
                  <a:srgbClr val="8E754F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information</a:t>
            </a:r>
          </a:p>
        </p:txBody>
      </p:sp>
      <p:sp>
        <p:nvSpPr>
          <p:cNvPr id="1808405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550025" y="4032250"/>
            <a:ext cx="252413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>
                <a:solidFill>
                  <a:srgbClr val="385B54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India</a:t>
            </a:r>
          </a:p>
        </p:txBody>
      </p:sp>
      <p:sp>
        <p:nvSpPr>
          <p:cNvPr id="1808406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-5400000">
            <a:off x="6497638" y="3851275"/>
            <a:ext cx="153987" cy="13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000">
                <a:solidFill>
                  <a:srgbClr val="856C42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USA</a:t>
            </a:r>
          </a:p>
        </p:txBody>
      </p:sp>
      <p:sp>
        <p:nvSpPr>
          <p:cNvPr id="1808407" name="Rectangle 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515100" y="3159125"/>
            <a:ext cx="118745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rgbClr val="6E511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hypercollaboration</a:t>
            </a:r>
          </a:p>
        </p:txBody>
      </p:sp>
      <p:sp>
        <p:nvSpPr>
          <p:cNvPr id="1808408" name="Rectangle 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680200" y="2927350"/>
            <a:ext cx="652463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rgbClr val="5C1D1D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hallenges</a:t>
            </a:r>
          </a:p>
        </p:txBody>
      </p:sp>
      <p:sp>
        <p:nvSpPr>
          <p:cNvPr id="1808409" name="Rectangle 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556500" y="3024188"/>
            <a:ext cx="641350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100">
                <a:solidFill>
                  <a:srgbClr val="714739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infrastructure</a:t>
            </a:r>
          </a:p>
        </p:txBody>
      </p:sp>
      <p:sp>
        <p:nvSpPr>
          <p:cNvPr id="1808410" name="Rectangle 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724775" y="3470275"/>
            <a:ext cx="406400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000">
                <a:solidFill>
                  <a:srgbClr val="75844D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hallenges</a:t>
            </a:r>
          </a:p>
        </p:txBody>
      </p:sp>
      <p:sp>
        <p:nvSpPr>
          <p:cNvPr id="1808411" name="Rectangle 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766050" y="3665538"/>
            <a:ext cx="701675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400">
                <a:solidFill>
                  <a:srgbClr val="6F4220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science</a:t>
            </a:r>
          </a:p>
        </p:txBody>
      </p:sp>
      <p:sp>
        <p:nvSpPr>
          <p:cNvPr id="1808412" name="Rectangle 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753350" y="3948113"/>
            <a:ext cx="73818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600">
                <a:solidFill>
                  <a:srgbClr val="30544C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China</a:t>
            </a:r>
          </a:p>
        </p:txBody>
      </p:sp>
      <p:sp>
        <p:nvSpPr>
          <p:cNvPr id="1774621" name="Rectangle 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753350" y="4384675"/>
            <a:ext cx="433388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200">
                <a:solidFill>
                  <a:srgbClr val="375A52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research</a:t>
            </a:r>
          </a:p>
        </p:txBody>
      </p:sp>
      <p:sp>
        <p:nvSpPr>
          <p:cNvPr id="1808414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667625" y="4643438"/>
            <a:ext cx="785813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000">
                <a:solidFill>
                  <a:srgbClr val="78592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strengths</a:t>
            </a:r>
          </a:p>
        </p:txBody>
      </p:sp>
      <p:sp>
        <p:nvSpPr>
          <p:cNvPr id="1808415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286500" y="4894263"/>
            <a:ext cx="534988" cy="25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2000">
                <a:solidFill>
                  <a:srgbClr val="B0893E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quality</a:t>
            </a:r>
          </a:p>
        </p:txBody>
      </p:sp>
      <p:sp>
        <p:nvSpPr>
          <p:cNvPr id="1808416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946775" y="5349875"/>
            <a:ext cx="1719263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4800">
                <a:solidFill>
                  <a:srgbClr val="757237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decisions</a:t>
            </a:r>
          </a:p>
        </p:txBody>
      </p:sp>
      <p:sp>
        <p:nvSpPr>
          <p:cNvPr id="1808417" name="Rectangle 3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-5400000">
            <a:off x="5582444" y="3704431"/>
            <a:ext cx="1514475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3100">
                <a:solidFill>
                  <a:srgbClr val="B48148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recruitment</a:t>
            </a:r>
          </a:p>
        </p:txBody>
      </p:sp>
      <p:sp>
        <p:nvSpPr>
          <p:cNvPr id="1808418" name="Rectangle 3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 rot="-5400000">
            <a:off x="7065963" y="3889375"/>
            <a:ext cx="1106487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rgbClr val="355856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leading indicators</a:t>
            </a:r>
          </a:p>
        </p:txBody>
      </p:sp>
      <p:sp>
        <p:nvSpPr>
          <p:cNvPr id="1808419" name="Rectangle 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423025" y="1457325"/>
            <a:ext cx="1527175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5400">
                <a:solidFill>
                  <a:srgbClr val="B5AC4B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funding</a:t>
            </a:r>
          </a:p>
        </p:txBody>
      </p:sp>
      <p:sp>
        <p:nvSpPr>
          <p:cNvPr id="1808420" name="Rectangle 3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6032500" y="2132013"/>
            <a:ext cx="2041525" cy="85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6600">
                <a:solidFill>
                  <a:srgbClr val="B5854B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metrics</a:t>
            </a:r>
          </a:p>
        </p:txBody>
      </p:sp>
      <p:sp>
        <p:nvSpPr>
          <p:cNvPr id="1808421" name="Rectangle 3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 rot="-5400000">
            <a:off x="6096794" y="4028282"/>
            <a:ext cx="1900237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4800">
                <a:solidFill>
                  <a:srgbClr val="B5954B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networks</a:t>
            </a:r>
          </a:p>
        </p:txBody>
      </p:sp>
      <p:sp>
        <p:nvSpPr>
          <p:cNvPr id="1808427" name="Rectangle 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 rot="-5400000">
            <a:off x="3913981" y="3128169"/>
            <a:ext cx="3559175" cy="71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  <a:buFont typeface="Wingdings" pitchFamily="2" charset="2"/>
              <a:buNone/>
            </a:pPr>
            <a:r>
              <a:rPr lang="en-GB" sz="5500">
                <a:solidFill>
                  <a:srgbClr val="633925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interdisciplinary</a:t>
            </a:r>
          </a:p>
        </p:txBody>
      </p:sp>
      <p:sp>
        <p:nvSpPr>
          <p:cNvPr id="4135" name="Rectangle 5"/>
          <p:cNvSpPr>
            <a:spLocks noGrp="1" noChangeArrowheads="1"/>
          </p:cNvSpPr>
          <p:nvPr>
            <p:ph type="sldNum" sz="quarter" idx="10"/>
            <p:custDataLst>
              <p:tags r:id="rId38"/>
            </p:custDataLst>
          </p:nvPr>
        </p:nvSpPr>
        <p:spPr>
          <a:xfrm>
            <a:off x="7010400" y="6381750"/>
            <a:ext cx="2133600" cy="476250"/>
          </a:xfrm>
          <a:noFill/>
        </p:spPr>
        <p:txBody>
          <a:bodyPr anchor="b"/>
          <a:lstStyle/>
          <a:p>
            <a:fld id="{61266E34-9ACE-4839-9A08-2DB393B2B9B8}" type="slidenum">
              <a:rPr lang="en-US" sz="900" smtClean="0">
                <a:latin typeface="Arial Narrow" pitchFamily="34" charset="0"/>
              </a:rPr>
              <a:pPr/>
              <a:t>2</a:t>
            </a:fld>
            <a:endParaRPr lang="en-US" sz="900" smtClean="0">
              <a:latin typeface="Arial Narrow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3663950" y="1727200"/>
            <a:ext cx="18161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lnSpc>
                <a:spcPct val="85000"/>
              </a:lnSpc>
              <a:spcBef>
                <a:spcPct val="35000"/>
              </a:spcBef>
              <a:buClr>
                <a:srgbClr val="FF9900"/>
              </a:buClr>
              <a:buSzPct val="70000"/>
            </a:pPr>
            <a:r>
              <a:rPr lang="en-GB" sz="3200">
                <a:solidFill>
                  <a:srgbClr val="653427"/>
                </a:solidFill>
                <a:latin typeface="Haettenschweiler" pitchFamily="34" charset="0"/>
                <a:ea typeface="Arial Unicode MS" pitchFamily="34" charset="-128"/>
                <a:cs typeface="Arial Unicode MS" pitchFamily="34" charset="-128"/>
              </a:rPr>
              <a:t>OPEN ACC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08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08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08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08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08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08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08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08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08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08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08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08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08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08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08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4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774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08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808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808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808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08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808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808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808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808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60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4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7746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808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6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808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808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808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70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808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808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808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7500"/>
                            </p:stCondLst>
                            <p:childTnLst>
                              <p:par>
                                <p:cTn id="1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808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8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808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8000"/>
                            </p:stCondLst>
                            <p:childTnLst>
                              <p:par>
                                <p:cTn id="1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8386" grpId="0"/>
      <p:bldP spid="1808387" grpId="0"/>
      <p:bldP spid="1808388" grpId="0"/>
      <p:bldP spid="1808389" grpId="0"/>
      <p:bldP spid="1808390" grpId="0"/>
      <p:bldP spid="1808391" grpId="0"/>
      <p:bldP spid="1808392" grpId="0"/>
      <p:bldP spid="1808393" grpId="0"/>
      <p:bldP spid="1808394" grpId="0"/>
      <p:bldP spid="1808396" grpId="0"/>
      <p:bldP spid="1808397" grpId="0"/>
      <p:bldP spid="1808398" grpId="0"/>
      <p:bldP spid="1808399" grpId="0"/>
      <p:bldP spid="1808400" grpId="0"/>
      <p:bldP spid="1808401" grpId="0"/>
      <p:bldP spid="1774610" grpId="0"/>
      <p:bldP spid="1808403" grpId="0"/>
      <p:bldP spid="1808405" grpId="0"/>
      <p:bldP spid="1808406" grpId="0"/>
      <p:bldP spid="1808407" grpId="0"/>
      <p:bldP spid="1808408" grpId="0"/>
      <p:bldP spid="1808409" grpId="0"/>
      <p:bldP spid="1808410" grpId="0"/>
      <p:bldP spid="1808411" grpId="0"/>
      <p:bldP spid="1808412" grpId="0"/>
      <p:bldP spid="1774621" grpId="0"/>
      <p:bldP spid="1808414" grpId="0"/>
      <p:bldP spid="1808415" grpId="0"/>
      <p:bldP spid="1808416" grpId="0"/>
      <p:bldP spid="1808417" grpId="0"/>
      <p:bldP spid="1808418" grpId="0"/>
      <p:bldP spid="1808419" grpId="0"/>
      <p:bldP spid="1808420" grpId="0"/>
      <p:bldP spid="1808421" grpId="0"/>
      <p:bldP spid="1808427" grpId="0"/>
      <p:bldP spid="4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6" name="Picture 6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443787" y="3597441"/>
            <a:ext cx="3017520" cy="29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475743" y="3592208"/>
            <a:ext cx="2957296" cy="2926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419725" y="670037"/>
            <a:ext cx="3016577" cy="2926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439653" y="648113"/>
            <a:ext cx="3017520" cy="2965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D8D60-1733-4062-A23E-851AAC223991}" type="slidenum">
              <a:rPr lang="ja-JP" altLang="en-GB" smtClean="0"/>
              <a:pPr/>
              <a:t>20</a:t>
            </a:fld>
            <a:endParaRPr lang="en-GB" altLang="ja-JP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-255493"/>
            <a:ext cx="8353425" cy="836613"/>
          </a:xfrm>
        </p:spPr>
        <p:txBody>
          <a:bodyPr/>
          <a:lstStyle/>
          <a:p>
            <a:r>
              <a:rPr lang="en-US" dirty="0" smtClean="0"/>
              <a:t>“Snapshot” of national research strength are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76724" y="793374"/>
            <a:ext cx="9971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EGYPT</a:t>
            </a:r>
            <a:endParaRPr lang="en-US" sz="24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59579" y="774968"/>
            <a:ext cx="11897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TURKE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2662" y="3621498"/>
            <a:ext cx="11160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SOUTH</a:t>
            </a:r>
            <a:br>
              <a:rPr lang="en-US" sz="2400" dirty="0" smtClean="0">
                <a:latin typeface="+mn-lt"/>
              </a:rPr>
            </a:br>
            <a:r>
              <a:rPr lang="en-US" sz="2400" dirty="0" smtClean="0">
                <a:latin typeface="+mn-lt"/>
              </a:rPr>
              <a:t>AFRICA</a:t>
            </a:r>
            <a:endParaRPr lang="en-US" sz="24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478604" y="3621502"/>
            <a:ext cx="8274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IRAN</a:t>
            </a:r>
            <a:endParaRPr lang="en-US" sz="2400" dirty="0">
              <a:latin typeface="+mn-lt"/>
            </a:endParaRP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336884" y="3585409"/>
            <a:ext cx="8542421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rot="5400000">
            <a:off x="1431758" y="3597442"/>
            <a:ext cx="59676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/>
          <p:cNvSpPr/>
          <p:nvPr/>
        </p:nvSpPr>
        <p:spPr>
          <a:xfrm>
            <a:off x="7659858" y="2002413"/>
            <a:ext cx="10058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76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Global</a:t>
            </a:r>
          </a:p>
          <a:p>
            <a:r>
              <a:rPr lang="en-US" sz="1400" dirty="0" smtClean="0"/>
              <a:t>Strength </a:t>
            </a:r>
            <a:br>
              <a:rPr lang="en-US" sz="1400" dirty="0" smtClean="0"/>
            </a:br>
            <a:r>
              <a:rPr lang="en-US" sz="1400" dirty="0" smtClean="0"/>
              <a:t>Areas</a:t>
            </a:r>
            <a:endParaRPr lang="en-US" sz="1400" dirty="0"/>
          </a:p>
        </p:txBody>
      </p:sp>
      <p:sp>
        <p:nvSpPr>
          <p:cNvPr id="26" name="Rectangle 25"/>
          <p:cNvSpPr/>
          <p:nvPr/>
        </p:nvSpPr>
        <p:spPr>
          <a:xfrm>
            <a:off x="7618913" y="5223285"/>
            <a:ext cx="10058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34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Global</a:t>
            </a:r>
          </a:p>
          <a:p>
            <a:r>
              <a:rPr lang="en-US" sz="1400" dirty="0" smtClean="0"/>
              <a:t>Strength </a:t>
            </a:r>
            <a:br>
              <a:rPr lang="en-US" sz="1400" dirty="0" smtClean="0"/>
            </a:br>
            <a:r>
              <a:rPr lang="en-US" sz="1400" dirty="0" smtClean="0"/>
              <a:t>Areas</a:t>
            </a:r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317365" y="2070652"/>
            <a:ext cx="10058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11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Global Strength </a:t>
            </a:r>
            <a:br>
              <a:rPr lang="en-US" sz="1400" dirty="0" smtClean="0"/>
            </a:br>
            <a:r>
              <a:rPr lang="en-US" sz="1400" dirty="0" smtClean="0"/>
              <a:t>Areas</a:t>
            </a:r>
            <a:endParaRPr lang="en-US" sz="1400" dirty="0"/>
          </a:p>
        </p:txBody>
      </p:sp>
      <p:sp>
        <p:nvSpPr>
          <p:cNvPr id="28" name="Rectangle 27"/>
          <p:cNvSpPr/>
          <p:nvPr/>
        </p:nvSpPr>
        <p:spPr>
          <a:xfrm>
            <a:off x="317365" y="5155050"/>
            <a:ext cx="10058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16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Global Strength </a:t>
            </a:r>
            <a:br>
              <a:rPr lang="en-US" sz="1400" dirty="0" smtClean="0"/>
            </a:br>
            <a:r>
              <a:rPr lang="en-US" sz="1400" dirty="0" smtClean="0"/>
              <a:t>Areas</a:t>
            </a:r>
            <a:endParaRPr lang="en-US" sz="1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2534" y="1228421"/>
            <a:ext cx="842963" cy="552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9470" y="4450214"/>
            <a:ext cx="810682" cy="545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52267" y="1157678"/>
            <a:ext cx="1030288" cy="663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69199" y="4087294"/>
            <a:ext cx="914930" cy="514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-159024"/>
            <a:ext cx="8748712" cy="836613"/>
          </a:xfrm>
        </p:spPr>
        <p:txBody>
          <a:bodyPr/>
          <a:lstStyle/>
          <a:p>
            <a:pPr eaLnBrk="1" hangingPunct="1"/>
            <a:r>
              <a:rPr lang="en-US" altLang="ja-JP" dirty="0" smtClean="0">
                <a:latin typeface="Arial" charset="0"/>
                <a:ea typeface="ＭＳ Ｐゴシック" charset="-128"/>
                <a:cs typeface="Arial" charset="0"/>
              </a:rPr>
              <a:t>Research Strengths of other Nations</a:t>
            </a:r>
          </a:p>
        </p:txBody>
      </p:sp>
      <p:sp>
        <p:nvSpPr>
          <p:cNvPr id="20483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FB5E5243-93EB-4644-8E4A-4F37AB43B09F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1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2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50862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USA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2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7894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Brazil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20493" name="TextBox 8"/>
          <p:cNvSpPr txBox="1">
            <a:spLocks noChangeArrowheads="1"/>
          </p:cNvSpPr>
          <p:nvPr/>
        </p:nvSpPr>
        <p:spPr bwMode="auto">
          <a:xfrm>
            <a:off x="177800" y="5849938"/>
            <a:ext cx="85026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000000"/>
              </a:buClr>
            </a:pP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The maps of other </a:t>
            </a:r>
            <a:r>
              <a:rPr lang="en-GB" altLang="ja-JP" b="1" dirty="0" smtClean="0">
                <a:solidFill>
                  <a:schemeClr val="tx2"/>
                </a:solidFill>
                <a:ea typeface="ＭＳ Ｐゴシック" charset="-128"/>
              </a:rPr>
              <a:t>nation </a:t>
            </a: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across the world are available in </a:t>
            </a:r>
            <a:r>
              <a:rPr lang="en-GB" altLang="ja-JP" b="1" dirty="0" err="1">
                <a:solidFill>
                  <a:schemeClr val="tx2"/>
                </a:solidFill>
                <a:ea typeface="ＭＳ Ｐゴシック" charset="-128"/>
              </a:rPr>
              <a:t>SciVal</a:t>
            </a: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 Spotlight, allowing you to assess </a:t>
            </a:r>
            <a:b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</a:br>
            <a:r>
              <a:rPr lang="en-GB" altLang="ja-JP" b="1" dirty="0" smtClean="0">
                <a:solidFill>
                  <a:schemeClr val="tx2"/>
                </a:solidFill>
                <a:ea typeface="ＭＳ Ｐゴシック" charset="-128"/>
              </a:rPr>
              <a:t>Turkey’s strengths </a:t>
            </a: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relative to other </a:t>
            </a:r>
            <a:r>
              <a:rPr lang="en-GB" altLang="ja-JP" b="1" dirty="0" smtClean="0">
                <a:solidFill>
                  <a:schemeClr val="tx2"/>
                </a:solidFill>
                <a:ea typeface="ＭＳ Ｐゴシック" charset="-128"/>
              </a:rPr>
              <a:t>nation </a:t>
            </a: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as well as </a:t>
            </a:r>
            <a:r>
              <a:rPr lang="en-GB" altLang="ja-JP" b="1" dirty="0" smtClean="0">
                <a:solidFill>
                  <a:schemeClr val="tx2"/>
                </a:solidFill>
                <a:ea typeface="ＭＳ Ｐゴシック" charset="-128"/>
              </a:rPr>
              <a:t>for strategic planning and to identify </a:t>
            </a:r>
            <a:r>
              <a:rPr lang="en-GB" altLang="ja-JP" b="1" dirty="0">
                <a:solidFill>
                  <a:schemeClr val="tx2"/>
                </a:solidFill>
                <a:ea typeface="ＭＳ Ｐゴシック" charset="-128"/>
              </a:rPr>
              <a:t>opportunities for </a:t>
            </a:r>
            <a:r>
              <a:rPr lang="en-GB" altLang="ja-JP" b="1" dirty="0" smtClean="0">
                <a:solidFill>
                  <a:schemeClr val="tx2"/>
                </a:solidFill>
                <a:ea typeface="ＭＳ Ｐゴシック" charset="-128"/>
              </a:rPr>
              <a:t>collaboration.</a:t>
            </a:r>
            <a:endParaRPr lang="en-US" altLang="ja-JP" b="1" dirty="0">
              <a:solidFill>
                <a:schemeClr val="tx2"/>
              </a:solidFill>
              <a:ea typeface="ＭＳ Ｐゴシック" charset="-128"/>
            </a:endParaRPr>
          </a:p>
        </p:txBody>
      </p:sp>
      <p:pic>
        <p:nvPicPr>
          <p:cNvPr id="8" name="図 7" descr="US_2009.bmp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70535" y="1628203"/>
            <a:ext cx="3960000" cy="3929538"/>
          </a:xfrm>
          <a:prstGeom prst="rect">
            <a:avLst/>
          </a:prstGeom>
        </p:spPr>
      </p:pic>
      <p:pic>
        <p:nvPicPr>
          <p:cNvPr id="9" name="図 8" descr="Brazil_2009.bmp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31131" y="1687906"/>
            <a:ext cx="3960000" cy="3923163"/>
          </a:xfrm>
          <a:prstGeom prst="rect">
            <a:avLst/>
          </a:prstGeom>
        </p:spPr>
      </p:pic>
      <p:sp>
        <p:nvSpPr>
          <p:cNvPr id="10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lnSpc>
                <a:spcPct val="130000"/>
              </a:lnSpc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Source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US and Brazil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正方形/長方形 42"/>
          <p:cNvSpPr/>
          <p:nvPr/>
        </p:nvSpPr>
        <p:spPr bwMode="auto">
          <a:xfrm>
            <a:off x="1005840" y="1225296"/>
            <a:ext cx="2029968" cy="4343400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grpSp>
        <p:nvGrpSpPr>
          <p:cNvPr id="41" name="グループ化 40"/>
          <p:cNvGrpSpPr/>
          <p:nvPr/>
        </p:nvGrpSpPr>
        <p:grpSpPr>
          <a:xfrm>
            <a:off x="918254" y="1224381"/>
            <a:ext cx="7200000" cy="3173883"/>
            <a:chOff x="863390" y="1224381"/>
            <a:chExt cx="7283914" cy="3173883"/>
          </a:xfrm>
        </p:grpSpPr>
        <p:cxnSp>
          <p:nvCxnSpPr>
            <p:cNvPr id="33" name="直線コネクタ 32"/>
            <p:cNvCxnSpPr/>
            <p:nvPr/>
          </p:nvCxnSpPr>
          <p:spPr bwMode="auto">
            <a:xfrm>
              <a:off x="863390" y="1224381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直線コネクタ 33"/>
            <p:cNvCxnSpPr/>
            <p:nvPr/>
          </p:nvCxnSpPr>
          <p:spPr bwMode="auto">
            <a:xfrm>
              <a:off x="863390" y="1677662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直線コネクタ 34"/>
            <p:cNvCxnSpPr/>
            <p:nvPr/>
          </p:nvCxnSpPr>
          <p:spPr bwMode="auto">
            <a:xfrm>
              <a:off x="863390" y="2130943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直線コネクタ 35"/>
            <p:cNvCxnSpPr/>
            <p:nvPr/>
          </p:nvCxnSpPr>
          <p:spPr bwMode="auto">
            <a:xfrm>
              <a:off x="863390" y="3490786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直線コネクタ 36"/>
            <p:cNvCxnSpPr/>
            <p:nvPr/>
          </p:nvCxnSpPr>
          <p:spPr bwMode="auto">
            <a:xfrm>
              <a:off x="863390" y="3037505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直線コネクタ 37"/>
            <p:cNvCxnSpPr/>
            <p:nvPr/>
          </p:nvCxnSpPr>
          <p:spPr bwMode="auto">
            <a:xfrm>
              <a:off x="863390" y="4397349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直線コネクタ 38"/>
            <p:cNvCxnSpPr/>
            <p:nvPr/>
          </p:nvCxnSpPr>
          <p:spPr bwMode="auto">
            <a:xfrm>
              <a:off x="863390" y="3944067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直線コネクタ 39"/>
            <p:cNvCxnSpPr/>
            <p:nvPr/>
          </p:nvCxnSpPr>
          <p:spPr bwMode="auto">
            <a:xfrm>
              <a:off x="863390" y="2584224"/>
              <a:ext cx="7283914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374650" y="0"/>
            <a:ext cx="8769350" cy="836613"/>
          </a:xfrm>
        </p:spPr>
        <p:txBody>
          <a:bodyPr/>
          <a:lstStyle/>
          <a:p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Countries conducting research activity </a:t>
            </a:r>
            <a:b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</a:br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in areas as Turkey’s national strengths</a:t>
            </a:r>
            <a:endParaRPr kumimoji="1" lang="ja-JP" altLang="en-US" sz="2600" dirty="0" smtClean="0">
              <a:ea typeface="ＭＳ Ｐゴシック" charset="-128"/>
              <a:cs typeface="Arial" charset="0"/>
            </a:endParaRPr>
          </a:p>
        </p:txBody>
      </p:sp>
      <p:sp>
        <p:nvSpPr>
          <p:cNvPr id="21508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CF20DD8D-818B-45A0-B8ED-A23407BAADB4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2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1033" name="Freeform 9"/>
          <p:cNvSpPr>
            <a:spLocks noEditPoints="1"/>
          </p:cNvSpPr>
          <p:nvPr/>
        </p:nvSpPr>
        <p:spPr bwMode="auto">
          <a:xfrm>
            <a:off x="1109674" y="1648398"/>
            <a:ext cx="6909726" cy="3205636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0" y="1078"/>
              </a:cxn>
              <a:cxn ang="0">
                <a:pos x="159" y="560"/>
              </a:cxn>
              <a:cxn ang="0">
                <a:pos x="223" y="1078"/>
              </a:cxn>
              <a:cxn ang="0">
                <a:pos x="159" y="560"/>
              </a:cxn>
              <a:cxn ang="0">
                <a:pos x="382" y="650"/>
              </a:cxn>
              <a:cxn ang="0">
                <a:pos x="319" y="1078"/>
              </a:cxn>
              <a:cxn ang="0">
                <a:pos x="483" y="666"/>
              </a:cxn>
              <a:cxn ang="0">
                <a:pos x="547" y="1078"/>
              </a:cxn>
              <a:cxn ang="0">
                <a:pos x="483" y="666"/>
              </a:cxn>
              <a:cxn ang="0">
                <a:pos x="706" y="730"/>
              </a:cxn>
              <a:cxn ang="0">
                <a:pos x="643" y="1078"/>
              </a:cxn>
              <a:cxn ang="0">
                <a:pos x="802" y="772"/>
              </a:cxn>
              <a:cxn ang="0">
                <a:pos x="871" y="1078"/>
              </a:cxn>
              <a:cxn ang="0">
                <a:pos x="802" y="772"/>
              </a:cxn>
              <a:cxn ang="0">
                <a:pos x="1030" y="835"/>
              </a:cxn>
              <a:cxn ang="0">
                <a:pos x="967" y="1078"/>
              </a:cxn>
              <a:cxn ang="0">
                <a:pos x="1126" y="835"/>
              </a:cxn>
              <a:cxn ang="0">
                <a:pos x="1190" y="1078"/>
              </a:cxn>
              <a:cxn ang="0">
                <a:pos x="1126" y="835"/>
              </a:cxn>
              <a:cxn ang="0">
                <a:pos x="1354" y="835"/>
              </a:cxn>
              <a:cxn ang="0">
                <a:pos x="1285" y="1078"/>
              </a:cxn>
              <a:cxn ang="0">
                <a:pos x="1450" y="851"/>
              </a:cxn>
              <a:cxn ang="0">
                <a:pos x="1514" y="1078"/>
              </a:cxn>
              <a:cxn ang="0">
                <a:pos x="1450" y="851"/>
              </a:cxn>
              <a:cxn ang="0">
                <a:pos x="1673" y="851"/>
              </a:cxn>
              <a:cxn ang="0">
                <a:pos x="1609" y="1078"/>
              </a:cxn>
              <a:cxn ang="0">
                <a:pos x="1769" y="862"/>
              </a:cxn>
              <a:cxn ang="0">
                <a:pos x="1838" y="1078"/>
              </a:cxn>
              <a:cxn ang="0">
                <a:pos x="1769" y="862"/>
              </a:cxn>
              <a:cxn ang="0">
                <a:pos x="1997" y="878"/>
              </a:cxn>
              <a:cxn ang="0">
                <a:pos x="1933" y="1078"/>
              </a:cxn>
              <a:cxn ang="0">
                <a:pos x="2092" y="925"/>
              </a:cxn>
              <a:cxn ang="0">
                <a:pos x="2156" y="1078"/>
              </a:cxn>
              <a:cxn ang="0">
                <a:pos x="2092" y="925"/>
              </a:cxn>
            </a:cxnLst>
            <a:rect l="0" t="0" r="r" b="b"/>
            <a:pathLst>
              <a:path w="2156" h="1078">
                <a:moveTo>
                  <a:pt x="0" y="0"/>
                </a:moveTo>
                <a:lnTo>
                  <a:pt x="64" y="0"/>
                </a:lnTo>
                <a:lnTo>
                  <a:pt x="64" y="1078"/>
                </a:lnTo>
                <a:lnTo>
                  <a:pt x="0" y="1078"/>
                </a:lnTo>
                <a:lnTo>
                  <a:pt x="0" y="0"/>
                </a:lnTo>
                <a:close/>
                <a:moveTo>
                  <a:pt x="159" y="560"/>
                </a:moveTo>
                <a:lnTo>
                  <a:pt x="223" y="560"/>
                </a:lnTo>
                <a:lnTo>
                  <a:pt x="223" y="1078"/>
                </a:lnTo>
                <a:lnTo>
                  <a:pt x="159" y="1078"/>
                </a:lnTo>
                <a:lnTo>
                  <a:pt x="159" y="560"/>
                </a:lnTo>
                <a:close/>
                <a:moveTo>
                  <a:pt x="319" y="650"/>
                </a:moveTo>
                <a:lnTo>
                  <a:pt x="382" y="650"/>
                </a:lnTo>
                <a:lnTo>
                  <a:pt x="382" y="1078"/>
                </a:lnTo>
                <a:lnTo>
                  <a:pt x="319" y="1078"/>
                </a:lnTo>
                <a:lnTo>
                  <a:pt x="319" y="650"/>
                </a:lnTo>
                <a:close/>
                <a:moveTo>
                  <a:pt x="483" y="666"/>
                </a:moveTo>
                <a:lnTo>
                  <a:pt x="547" y="666"/>
                </a:lnTo>
                <a:lnTo>
                  <a:pt x="547" y="1078"/>
                </a:lnTo>
                <a:lnTo>
                  <a:pt x="483" y="1078"/>
                </a:lnTo>
                <a:lnTo>
                  <a:pt x="483" y="666"/>
                </a:lnTo>
                <a:close/>
                <a:moveTo>
                  <a:pt x="643" y="730"/>
                </a:moveTo>
                <a:lnTo>
                  <a:pt x="706" y="730"/>
                </a:lnTo>
                <a:lnTo>
                  <a:pt x="706" y="1078"/>
                </a:lnTo>
                <a:lnTo>
                  <a:pt x="643" y="1078"/>
                </a:lnTo>
                <a:lnTo>
                  <a:pt x="643" y="730"/>
                </a:lnTo>
                <a:close/>
                <a:moveTo>
                  <a:pt x="802" y="772"/>
                </a:moveTo>
                <a:lnTo>
                  <a:pt x="871" y="772"/>
                </a:lnTo>
                <a:lnTo>
                  <a:pt x="871" y="1078"/>
                </a:lnTo>
                <a:lnTo>
                  <a:pt x="802" y="1078"/>
                </a:lnTo>
                <a:lnTo>
                  <a:pt x="802" y="772"/>
                </a:lnTo>
                <a:close/>
                <a:moveTo>
                  <a:pt x="967" y="835"/>
                </a:moveTo>
                <a:lnTo>
                  <a:pt x="1030" y="835"/>
                </a:lnTo>
                <a:lnTo>
                  <a:pt x="1030" y="1078"/>
                </a:lnTo>
                <a:lnTo>
                  <a:pt x="967" y="1078"/>
                </a:lnTo>
                <a:lnTo>
                  <a:pt x="967" y="835"/>
                </a:lnTo>
                <a:close/>
                <a:moveTo>
                  <a:pt x="1126" y="835"/>
                </a:moveTo>
                <a:lnTo>
                  <a:pt x="1190" y="835"/>
                </a:lnTo>
                <a:lnTo>
                  <a:pt x="1190" y="1078"/>
                </a:lnTo>
                <a:lnTo>
                  <a:pt x="1126" y="1078"/>
                </a:lnTo>
                <a:lnTo>
                  <a:pt x="1126" y="835"/>
                </a:lnTo>
                <a:close/>
                <a:moveTo>
                  <a:pt x="1285" y="835"/>
                </a:moveTo>
                <a:lnTo>
                  <a:pt x="1354" y="835"/>
                </a:lnTo>
                <a:lnTo>
                  <a:pt x="1354" y="1078"/>
                </a:lnTo>
                <a:lnTo>
                  <a:pt x="1285" y="1078"/>
                </a:lnTo>
                <a:lnTo>
                  <a:pt x="1285" y="835"/>
                </a:lnTo>
                <a:close/>
                <a:moveTo>
                  <a:pt x="1450" y="851"/>
                </a:moveTo>
                <a:lnTo>
                  <a:pt x="1514" y="851"/>
                </a:lnTo>
                <a:lnTo>
                  <a:pt x="1514" y="1078"/>
                </a:lnTo>
                <a:lnTo>
                  <a:pt x="1450" y="1078"/>
                </a:lnTo>
                <a:lnTo>
                  <a:pt x="1450" y="851"/>
                </a:lnTo>
                <a:close/>
                <a:moveTo>
                  <a:pt x="1609" y="851"/>
                </a:moveTo>
                <a:lnTo>
                  <a:pt x="1673" y="851"/>
                </a:lnTo>
                <a:lnTo>
                  <a:pt x="1673" y="1078"/>
                </a:lnTo>
                <a:lnTo>
                  <a:pt x="1609" y="1078"/>
                </a:lnTo>
                <a:lnTo>
                  <a:pt x="1609" y="851"/>
                </a:lnTo>
                <a:close/>
                <a:moveTo>
                  <a:pt x="1769" y="862"/>
                </a:moveTo>
                <a:lnTo>
                  <a:pt x="1838" y="862"/>
                </a:lnTo>
                <a:lnTo>
                  <a:pt x="1838" y="1078"/>
                </a:lnTo>
                <a:lnTo>
                  <a:pt x="1769" y="1078"/>
                </a:lnTo>
                <a:lnTo>
                  <a:pt x="1769" y="862"/>
                </a:lnTo>
                <a:close/>
                <a:moveTo>
                  <a:pt x="1933" y="878"/>
                </a:moveTo>
                <a:lnTo>
                  <a:pt x="1997" y="878"/>
                </a:lnTo>
                <a:lnTo>
                  <a:pt x="1997" y="1078"/>
                </a:lnTo>
                <a:lnTo>
                  <a:pt x="1933" y="1078"/>
                </a:lnTo>
                <a:lnTo>
                  <a:pt x="1933" y="878"/>
                </a:lnTo>
                <a:close/>
                <a:moveTo>
                  <a:pt x="2092" y="925"/>
                </a:moveTo>
                <a:lnTo>
                  <a:pt x="2156" y="925"/>
                </a:lnTo>
                <a:lnTo>
                  <a:pt x="2156" y="1078"/>
                </a:lnTo>
                <a:lnTo>
                  <a:pt x="2092" y="1078"/>
                </a:lnTo>
                <a:lnTo>
                  <a:pt x="2092" y="925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939815" y="1223160"/>
            <a:ext cx="16025" cy="3616005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1035" name="Freeform 11"/>
          <p:cNvSpPr>
            <a:spLocks noEditPoints="1"/>
          </p:cNvSpPr>
          <p:nvPr/>
        </p:nvSpPr>
        <p:spPr bwMode="auto">
          <a:xfrm>
            <a:off x="872513" y="1223160"/>
            <a:ext cx="67304" cy="3630873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63"/>
              </a:cxn>
              <a:cxn ang="0">
                <a:pos x="21" y="1063"/>
              </a:cxn>
              <a:cxn ang="0">
                <a:pos x="21" y="1068"/>
              </a:cxn>
              <a:cxn ang="0">
                <a:pos x="0" y="1068"/>
              </a:cxn>
              <a:cxn ang="0">
                <a:pos x="0" y="1063"/>
              </a:cxn>
              <a:cxn ang="0">
                <a:pos x="0" y="915"/>
              </a:cxn>
              <a:cxn ang="0">
                <a:pos x="21" y="915"/>
              </a:cxn>
              <a:cxn ang="0">
                <a:pos x="21" y="920"/>
              </a:cxn>
              <a:cxn ang="0">
                <a:pos x="0" y="920"/>
              </a:cxn>
              <a:cxn ang="0">
                <a:pos x="0" y="915"/>
              </a:cxn>
              <a:cxn ang="0">
                <a:pos x="0" y="762"/>
              </a:cxn>
              <a:cxn ang="0">
                <a:pos x="21" y="762"/>
              </a:cxn>
              <a:cxn ang="0">
                <a:pos x="21" y="767"/>
              </a:cxn>
              <a:cxn ang="0">
                <a:pos x="0" y="767"/>
              </a:cxn>
              <a:cxn ang="0">
                <a:pos x="0" y="762"/>
              </a:cxn>
              <a:cxn ang="0">
                <a:pos x="0" y="608"/>
              </a:cxn>
              <a:cxn ang="0">
                <a:pos x="21" y="608"/>
              </a:cxn>
              <a:cxn ang="0">
                <a:pos x="21" y="613"/>
              </a:cxn>
              <a:cxn ang="0">
                <a:pos x="0" y="613"/>
              </a:cxn>
              <a:cxn ang="0">
                <a:pos x="0" y="608"/>
              </a:cxn>
              <a:cxn ang="0">
                <a:pos x="0" y="460"/>
              </a:cxn>
              <a:cxn ang="0">
                <a:pos x="21" y="460"/>
              </a:cxn>
              <a:cxn ang="0">
                <a:pos x="21" y="465"/>
              </a:cxn>
              <a:cxn ang="0">
                <a:pos x="0" y="465"/>
              </a:cxn>
              <a:cxn ang="0">
                <a:pos x="0" y="460"/>
              </a:cxn>
              <a:cxn ang="0">
                <a:pos x="0" y="307"/>
              </a:cxn>
              <a:cxn ang="0">
                <a:pos x="21" y="307"/>
              </a:cxn>
              <a:cxn ang="0">
                <a:pos x="21" y="312"/>
              </a:cxn>
              <a:cxn ang="0">
                <a:pos x="0" y="312"/>
              </a:cxn>
              <a:cxn ang="0">
                <a:pos x="0" y="307"/>
              </a:cxn>
              <a:cxn ang="0">
                <a:pos x="0" y="154"/>
              </a:cxn>
              <a:cxn ang="0">
                <a:pos x="21" y="154"/>
              </a:cxn>
              <a:cxn ang="0">
                <a:pos x="21" y="159"/>
              </a:cxn>
              <a:cxn ang="0">
                <a:pos x="0" y="159"/>
              </a:cxn>
              <a:cxn ang="0">
                <a:pos x="0" y="154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63"/>
                </a:moveTo>
                <a:lnTo>
                  <a:pt x="21" y="1063"/>
                </a:lnTo>
                <a:lnTo>
                  <a:pt x="21" y="1068"/>
                </a:lnTo>
                <a:lnTo>
                  <a:pt x="0" y="1068"/>
                </a:lnTo>
                <a:lnTo>
                  <a:pt x="0" y="1063"/>
                </a:lnTo>
                <a:close/>
                <a:moveTo>
                  <a:pt x="0" y="915"/>
                </a:moveTo>
                <a:lnTo>
                  <a:pt x="21" y="915"/>
                </a:lnTo>
                <a:lnTo>
                  <a:pt x="21" y="920"/>
                </a:lnTo>
                <a:lnTo>
                  <a:pt x="0" y="920"/>
                </a:lnTo>
                <a:lnTo>
                  <a:pt x="0" y="915"/>
                </a:lnTo>
                <a:close/>
                <a:moveTo>
                  <a:pt x="0" y="762"/>
                </a:moveTo>
                <a:lnTo>
                  <a:pt x="21" y="762"/>
                </a:lnTo>
                <a:lnTo>
                  <a:pt x="21" y="767"/>
                </a:lnTo>
                <a:lnTo>
                  <a:pt x="0" y="767"/>
                </a:lnTo>
                <a:lnTo>
                  <a:pt x="0" y="762"/>
                </a:lnTo>
                <a:close/>
                <a:moveTo>
                  <a:pt x="0" y="608"/>
                </a:moveTo>
                <a:lnTo>
                  <a:pt x="21" y="608"/>
                </a:lnTo>
                <a:lnTo>
                  <a:pt x="21" y="613"/>
                </a:lnTo>
                <a:lnTo>
                  <a:pt x="0" y="613"/>
                </a:lnTo>
                <a:lnTo>
                  <a:pt x="0" y="608"/>
                </a:lnTo>
                <a:close/>
                <a:moveTo>
                  <a:pt x="0" y="460"/>
                </a:moveTo>
                <a:lnTo>
                  <a:pt x="21" y="460"/>
                </a:lnTo>
                <a:lnTo>
                  <a:pt x="21" y="465"/>
                </a:lnTo>
                <a:lnTo>
                  <a:pt x="0" y="465"/>
                </a:lnTo>
                <a:lnTo>
                  <a:pt x="0" y="460"/>
                </a:lnTo>
                <a:close/>
                <a:moveTo>
                  <a:pt x="0" y="307"/>
                </a:moveTo>
                <a:lnTo>
                  <a:pt x="21" y="307"/>
                </a:lnTo>
                <a:lnTo>
                  <a:pt x="21" y="312"/>
                </a:lnTo>
                <a:lnTo>
                  <a:pt x="0" y="312"/>
                </a:lnTo>
                <a:lnTo>
                  <a:pt x="0" y="307"/>
                </a:lnTo>
                <a:close/>
                <a:moveTo>
                  <a:pt x="0" y="154"/>
                </a:moveTo>
                <a:lnTo>
                  <a:pt x="21" y="154"/>
                </a:lnTo>
                <a:lnTo>
                  <a:pt x="21" y="159"/>
                </a:lnTo>
                <a:lnTo>
                  <a:pt x="0" y="159"/>
                </a:lnTo>
                <a:lnTo>
                  <a:pt x="0" y="154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939815" y="4839165"/>
            <a:ext cx="7233420" cy="14868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723699" y="4759006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645153" y="4301058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1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645153" y="3846085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2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1" name="Rectangle 17"/>
          <p:cNvSpPr>
            <a:spLocks noChangeArrowheads="1"/>
          </p:cNvSpPr>
          <p:nvPr/>
        </p:nvSpPr>
        <p:spPr bwMode="auto">
          <a:xfrm>
            <a:off x="645153" y="3405979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3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2" name="Rectangle 18"/>
          <p:cNvSpPr>
            <a:spLocks noChangeArrowheads="1"/>
          </p:cNvSpPr>
          <p:nvPr/>
        </p:nvSpPr>
        <p:spPr bwMode="auto">
          <a:xfrm>
            <a:off x="645153" y="2951004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4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645153" y="2493056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645153" y="2038082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6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5" name="Rectangle 21"/>
          <p:cNvSpPr>
            <a:spLocks noChangeArrowheads="1"/>
          </p:cNvSpPr>
          <p:nvPr/>
        </p:nvSpPr>
        <p:spPr bwMode="auto">
          <a:xfrm>
            <a:off x="645153" y="1597976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7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645153" y="1143001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8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47" name="Rectangle 23"/>
          <p:cNvSpPr>
            <a:spLocks noChangeArrowheads="1"/>
          </p:cNvSpPr>
          <p:nvPr/>
        </p:nvSpPr>
        <p:spPr bwMode="auto">
          <a:xfrm rot="3136105">
            <a:off x="1141723" y="5083808"/>
            <a:ext cx="25853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US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0" name="Rectangle 23"/>
          <p:cNvSpPr>
            <a:spLocks noChangeArrowheads="1"/>
          </p:cNvSpPr>
          <p:nvPr/>
        </p:nvSpPr>
        <p:spPr bwMode="auto">
          <a:xfrm rot="3136105">
            <a:off x="1586880" y="5152091"/>
            <a:ext cx="43120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BRAZIL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1" name="Rectangle 23"/>
          <p:cNvSpPr>
            <a:spLocks noChangeArrowheads="1"/>
          </p:cNvSpPr>
          <p:nvPr/>
        </p:nvSpPr>
        <p:spPr bwMode="auto">
          <a:xfrm rot="3136105">
            <a:off x="2166976" y="5124200"/>
            <a:ext cx="3606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INDI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2" name="Rectangle 23"/>
          <p:cNvSpPr>
            <a:spLocks noChangeArrowheads="1"/>
          </p:cNvSpPr>
          <p:nvPr/>
        </p:nvSpPr>
        <p:spPr bwMode="auto">
          <a:xfrm rot="3136105">
            <a:off x="2710936" y="5104549"/>
            <a:ext cx="3109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IRA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3" name="Rectangle 23"/>
          <p:cNvSpPr>
            <a:spLocks noChangeArrowheads="1"/>
          </p:cNvSpPr>
          <p:nvPr/>
        </p:nvSpPr>
        <p:spPr bwMode="auto">
          <a:xfrm rot="3136105">
            <a:off x="3199289" y="5141949"/>
            <a:ext cx="4055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CHIN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4" name="Rectangle 23"/>
          <p:cNvSpPr>
            <a:spLocks noChangeArrowheads="1"/>
          </p:cNvSpPr>
          <p:nvPr/>
        </p:nvSpPr>
        <p:spPr bwMode="auto">
          <a:xfrm rot="3136105">
            <a:off x="3824411" y="5052569"/>
            <a:ext cx="17953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K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5" name="Rectangle 23"/>
          <p:cNvSpPr>
            <a:spLocks noChangeArrowheads="1"/>
          </p:cNvSpPr>
          <p:nvPr/>
        </p:nvSpPr>
        <p:spPr bwMode="auto">
          <a:xfrm rot="3136105">
            <a:off x="4164231" y="5239569"/>
            <a:ext cx="6524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GERMAN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6" name="Rectangle 23"/>
          <p:cNvSpPr>
            <a:spLocks noChangeArrowheads="1"/>
          </p:cNvSpPr>
          <p:nvPr/>
        </p:nvSpPr>
        <p:spPr bwMode="auto">
          <a:xfrm rot="3136105">
            <a:off x="4678127" y="5318806"/>
            <a:ext cx="8527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NETHERLAND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7" name="Rectangle 23"/>
          <p:cNvSpPr>
            <a:spLocks noChangeArrowheads="1"/>
          </p:cNvSpPr>
          <p:nvPr/>
        </p:nvSpPr>
        <p:spPr bwMode="auto">
          <a:xfrm rot="3136105">
            <a:off x="5288496" y="5107490"/>
            <a:ext cx="31842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ITAL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8" name="Rectangle 23"/>
          <p:cNvSpPr>
            <a:spLocks noChangeArrowheads="1"/>
          </p:cNvSpPr>
          <p:nvPr/>
        </p:nvSpPr>
        <p:spPr bwMode="auto">
          <a:xfrm rot="3136105">
            <a:off x="5723259" y="5174202"/>
            <a:ext cx="48712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GREECE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9" name="Rectangle 23"/>
          <p:cNvSpPr>
            <a:spLocks noChangeArrowheads="1"/>
          </p:cNvSpPr>
          <p:nvPr/>
        </p:nvSpPr>
        <p:spPr bwMode="auto">
          <a:xfrm rot="3136105">
            <a:off x="6326264" y="5126685"/>
            <a:ext cx="3669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SPAI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0" name="Rectangle 23"/>
          <p:cNvSpPr>
            <a:spLocks noChangeArrowheads="1"/>
          </p:cNvSpPr>
          <p:nvPr/>
        </p:nvSpPr>
        <p:spPr bwMode="auto">
          <a:xfrm rot="3136105">
            <a:off x="6795289" y="5196210"/>
            <a:ext cx="5427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CANAD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1" name="Rectangle 23"/>
          <p:cNvSpPr>
            <a:spLocks noChangeArrowheads="1"/>
          </p:cNvSpPr>
          <p:nvPr/>
        </p:nvSpPr>
        <p:spPr bwMode="auto">
          <a:xfrm rot="3136105">
            <a:off x="7315128" y="5183228"/>
            <a:ext cx="5099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TAIWA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2" name="Rectangle 23"/>
          <p:cNvSpPr>
            <a:spLocks noChangeArrowheads="1"/>
          </p:cNvSpPr>
          <p:nvPr/>
        </p:nvSpPr>
        <p:spPr bwMode="auto">
          <a:xfrm rot="3136105">
            <a:off x="7862716" y="5139439"/>
            <a:ext cx="39921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EGYPT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249555" y="6296660"/>
            <a:ext cx="8610981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357188" indent="-357188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Note: Gross total of competencies where institutions from each countries appeared as top 10 institutions in terms of number of fractionized</a:t>
            </a:r>
            <a:b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</a:b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publications in each of Turkey’s global research competencies.</a:t>
            </a:r>
          </a:p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Source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4" name="AutoShape 146"/>
          <p:cNvSpPr>
            <a:spLocks noChangeArrowheads="1"/>
          </p:cNvSpPr>
          <p:nvPr/>
        </p:nvSpPr>
        <p:spPr bwMode="auto">
          <a:xfrm rot="16200000">
            <a:off x="-1546728" y="2920423"/>
            <a:ext cx="3600000" cy="268794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 w="9525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anchor="ctr"/>
          <a:lstStyle/>
          <a:p>
            <a:pPr marL="88900" marR="0" lvl="0" indent="-88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ross number of competencies*</a:t>
            </a:r>
            <a:endParaRPr kumimoji="0" lang="en-US" altLang="ja-JP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グループ化 60"/>
          <p:cNvGrpSpPr/>
          <p:nvPr/>
        </p:nvGrpSpPr>
        <p:grpSpPr>
          <a:xfrm>
            <a:off x="927398" y="1966350"/>
            <a:ext cx="3312000" cy="2561832"/>
            <a:chOff x="927398" y="1957206"/>
            <a:chExt cx="3312000" cy="2561832"/>
          </a:xfrm>
        </p:grpSpPr>
        <p:cxnSp>
          <p:nvCxnSpPr>
            <p:cNvPr id="50" name="直線コネクタ 49"/>
            <p:cNvCxnSpPr/>
            <p:nvPr/>
          </p:nvCxnSpPr>
          <p:spPr bwMode="auto">
            <a:xfrm>
              <a:off x="927398" y="1957206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直線コネクタ 50"/>
            <p:cNvCxnSpPr/>
            <p:nvPr/>
          </p:nvCxnSpPr>
          <p:spPr bwMode="auto">
            <a:xfrm>
              <a:off x="927398" y="2917647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直線コネクタ 51"/>
            <p:cNvCxnSpPr/>
            <p:nvPr/>
          </p:nvCxnSpPr>
          <p:spPr bwMode="auto">
            <a:xfrm>
              <a:off x="927398" y="2597500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直線コネクタ 52"/>
            <p:cNvCxnSpPr/>
            <p:nvPr/>
          </p:nvCxnSpPr>
          <p:spPr bwMode="auto">
            <a:xfrm>
              <a:off x="927398" y="3557941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直線コネクタ 53"/>
            <p:cNvCxnSpPr/>
            <p:nvPr/>
          </p:nvCxnSpPr>
          <p:spPr bwMode="auto">
            <a:xfrm>
              <a:off x="927398" y="323779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直線コネクタ 54"/>
            <p:cNvCxnSpPr/>
            <p:nvPr/>
          </p:nvCxnSpPr>
          <p:spPr bwMode="auto">
            <a:xfrm>
              <a:off x="927398" y="2277353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直線コネクタ 57"/>
            <p:cNvCxnSpPr/>
            <p:nvPr/>
          </p:nvCxnSpPr>
          <p:spPr bwMode="auto">
            <a:xfrm>
              <a:off x="927398" y="3878088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直線コネクタ 58"/>
            <p:cNvCxnSpPr/>
            <p:nvPr/>
          </p:nvCxnSpPr>
          <p:spPr bwMode="auto">
            <a:xfrm>
              <a:off x="927398" y="451838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直線コネクタ 59"/>
            <p:cNvCxnSpPr/>
            <p:nvPr/>
          </p:nvCxnSpPr>
          <p:spPr bwMode="auto">
            <a:xfrm>
              <a:off x="927398" y="4198235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7" name="グループ化 56"/>
          <p:cNvGrpSpPr/>
          <p:nvPr/>
        </p:nvGrpSpPr>
        <p:grpSpPr>
          <a:xfrm>
            <a:off x="5322614" y="1981590"/>
            <a:ext cx="3168000" cy="2516616"/>
            <a:chOff x="5322614" y="1981590"/>
            <a:chExt cx="3168000" cy="2516616"/>
          </a:xfrm>
        </p:grpSpPr>
        <p:cxnSp>
          <p:nvCxnSpPr>
            <p:cNvPr id="42" name="直線コネクタ 41"/>
            <p:cNvCxnSpPr/>
            <p:nvPr/>
          </p:nvCxnSpPr>
          <p:spPr bwMode="auto">
            <a:xfrm>
              <a:off x="5322614" y="1981590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直線コネクタ 42"/>
            <p:cNvCxnSpPr/>
            <p:nvPr/>
          </p:nvCxnSpPr>
          <p:spPr bwMode="auto">
            <a:xfrm>
              <a:off x="5322614" y="3059829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直線コネクタ 43"/>
            <p:cNvCxnSpPr/>
            <p:nvPr/>
          </p:nvCxnSpPr>
          <p:spPr bwMode="auto">
            <a:xfrm>
              <a:off x="5322614" y="2700416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直線コネクタ 44"/>
            <p:cNvCxnSpPr/>
            <p:nvPr/>
          </p:nvCxnSpPr>
          <p:spPr bwMode="auto">
            <a:xfrm>
              <a:off x="5322614" y="3778655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直線コネクタ 45"/>
            <p:cNvCxnSpPr/>
            <p:nvPr/>
          </p:nvCxnSpPr>
          <p:spPr bwMode="auto">
            <a:xfrm>
              <a:off x="5322614" y="3419242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直線コネクタ 46"/>
            <p:cNvCxnSpPr/>
            <p:nvPr/>
          </p:nvCxnSpPr>
          <p:spPr bwMode="auto">
            <a:xfrm>
              <a:off x="5322614" y="2341003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直線コネクタ 47"/>
            <p:cNvCxnSpPr/>
            <p:nvPr/>
          </p:nvCxnSpPr>
          <p:spPr bwMode="auto">
            <a:xfrm>
              <a:off x="5322614" y="4138068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直線コネクタ 55"/>
            <p:cNvCxnSpPr/>
            <p:nvPr/>
          </p:nvCxnSpPr>
          <p:spPr bwMode="auto">
            <a:xfrm>
              <a:off x="5322614" y="4497483"/>
              <a:ext cx="3168000" cy="72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374650" y="0"/>
            <a:ext cx="8769350" cy="836613"/>
          </a:xfrm>
        </p:spPr>
        <p:txBody>
          <a:bodyPr/>
          <a:lstStyle/>
          <a:p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Collaboration targets? – </a:t>
            </a:r>
            <a:r>
              <a:rPr lang="en-US" altLang="ja-JP" sz="2600" u="sng" dirty="0" smtClean="0">
                <a:latin typeface="Arial" charset="0"/>
                <a:ea typeface="ＭＳ Ｐゴシック" charset="-128"/>
                <a:cs typeface="Arial" charset="0"/>
              </a:rPr>
              <a:t>Brazilian</a:t>
            </a:r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 Institutions actively conducting research in Turkey’s strength areas</a:t>
            </a:r>
            <a:endParaRPr kumimoji="1" lang="ja-JP" altLang="en-US" sz="2600" dirty="0" smtClean="0">
              <a:ea typeface="ＭＳ Ｐゴシック" charset="-128"/>
              <a:cs typeface="Arial" charset="0"/>
            </a:endParaRPr>
          </a:p>
        </p:txBody>
      </p:sp>
      <p:sp>
        <p:nvSpPr>
          <p:cNvPr id="21508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CF20DD8D-818B-45A0-B8ED-A23407BAADB4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3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50862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# of Paper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3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06163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Total Citation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67" name="Rectangle 23"/>
          <p:cNvSpPr>
            <a:spLocks noChangeArrowheads="1"/>
          </p:cNvSpPr>
          <p:nvPr/>
        </p:nvSpPr>
        <p:spPr bwMode="auto">
          <a:xfrm rot="3136105">
            <a:off x="1210838" y="5613546"/>
            <a:ext cx="165327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Universidade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de Sao Paul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8" name="Rectangle 23"/>
          <p:cNvSpPr>
            <a:spLocks noChangeArrowheads="1"/>
          </p:cNvSpPr>
          <p:nvPr/>
        </p:nvSpPr>
        <p:spPr bwMode="auto">
          <a:xfrm rot="3136105">
            <a:off x="2281197" y="5688346"/>
            <a:ext cx="19330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Universidade Estadual Paulista </a:t>
            </a:r>
            <a:br>
              <a:rPr lang="pt-BR" sz="1200" dirty="0" smtClean="0">
                <a:solidFill>
                  <a:srgbClr val="000000"/>
                </a:solidFill>
                <a:latin typeface="+mn-lt"/>
              </a:rPr>
            </a:br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Julio de Mesquita Filh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" name="Rectangle 23"/>
          <p:cNvSpPr>
            <a:spLocks noChangeArrowheads="1"/>
          </p:cNvSpPr>
          <p:nvPr/>
        </p:nvSpPr>
        <p:spPr bwMode="auto">
          <a:xfrm rot="3136105">
            <a:off x="3481924" y="5483166"/>
            <a:ext cx="14141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Universidade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Estadual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de Campina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81" name="Freeform 9"/>
          <p:cNvSpPr>
            <a:spLocks noEditPoints="1"/>
          </p:cNvSpPr>
          <p:nvPr/>
        </p:nvSpPr>
        <p:spPr bwMode="auto">
          <a:xfrm>
            <a:off x="1286143" y="2215087"/>
            <a:ext cx="2723515" cy="264459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7" y="0"/>
              </a:cxn>
              <a:cxn ang="0">
                <a:pos x="297" y="1115"/>
              </a:cxn>
              <a:cxn ang="0">
                <a:pos x="0" y="1115"/>
              </a:cxn>
              <a:cxn ang="0">
                <a:pos x="0" y="0"/>
              </a:cxn>
              <a:cxn ang="0">
                <a:pos x="738" y="629"/>
              </a:cxn>
              <a:cxn ang="0">
                <a:pos x="1036" y="629"/>
              </a:cxn>
              <a:cxn ang="0">
                <a:pos x="1036" y="1115"/>
              </a:cxn>
              <a:cxn ang="0">
                <a:pos x="738" y="1115"/>
              </a:cxn>
              <a:cxn ang="0">
                <a:pos x="738" y="629"/>
              </a:cxn>
              <a:cxn ang="0">
                <a:pos x="1482" y="761"/>
              </a:cxn>
              <a:cxn ang="0">
                <a:pos x="1779" y="761"/>
              </a:cxn>
              <a:cxn ang="0">
                <a:pos x="1779" y="1115"/>
              </a:cxn>
              <a:cxn ang="0">
                <a:pos x="1482" y="1115"/>
              </a:cxn>
              <a:cxn ang="0">
                <a:pos x="1482" y="761"/>
              </a:cxn>
            </a:cxnLst>
            <a:rect l="0" t="0" r="r" b="b"/>
            <a:pathLst>
              <a:path w="1779" h="1115">
                <a:moveTo>
                  <a:pt x="0" y="0"/>
                </a:moveTo>
                <a:lnTo>
                  <a:pt x="297" y="0"/>
                </a:lnTo>
                <a:lnTo>
                  <a:pt x="297" y="1115"/>
                </a:lnTo>
                <a:lnTo>
                  <a:pt x="0" y="1115"/>
                </a:lnTo>
                <a:lnTo>
                  <a:pt x="0" y="0"/>
                </a:lnTo>
                <a:close/>
                <a:moveTo>
                  <a:pt x="738" y="629"/>
                </a:moveTo>
                <a:lnTo>
                  <a:pt x="1036" y="629"/>
                </a:lnTo>
                <a:lnTo>
                  <a:pt x="1036" y="1115"/>
                </a:lnTo>
                <a:lnTo>
                  <a:pt x="738" y="1115"/>
                </a:lnTo>
                <a:lnTo>
                  <a:pt x="738" y="629"/>
                </a:lnTo>
                <a:close/>
                <a:moveTo>
                  <a:pt x="1482" y="761"/>
                </a:moveTo>
                <a:lnTo>
                  <a:pt x="1779" y="761"/>
                </a:lnTo>
                <a:lnTo>
                  <a:pt x="1779" y="1115"/>
                </a:lnTo>
                <a:lnTo>
                  <a:pt x="1482" y="1115"/>
                </a:lnTo>
                <a:lnTo>
                  <a:pt x="1482" y="761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944747" y="1963672"/>
            <a:ext cx="7655" cy="2884154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083" name="Freeform 11"/>
          <p:cNvSpPr>
            <a:spLocks noEditPoints="1"/>
          </p:cNvSpPr>
          <p:nvPr/>
        </p:nvSpPr>
        <p:spPr bwMode="auto">
          <a:xfrm>
            <a:off x="912597" y="1963672"/>
            <a:ext cx="32150" cy="2896012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84"/>
              </a:cxn>
              <a:cxn ang="0">
                <a:pos x="21" y="1084"/>
              </a:cxn>
              <a:cxn ang="0">
                <a:pos x="21" y="1089"/>
              </a:cxn>
              <a:cxn ang="0">
                <a:pos x="0" y="1089"/>
              </a:cxn>
              <a:cxn ang="0">
                <a:pos x="0" y="1084"/>
              </a:cxn>
              <a:cxn ang="0">
                <a:pos x="0" y="947"/>
              </a:cxn>
              <a:cxn ang="0">
                <a:pos x="21" y="947"/>
              </a:cxn>
              <a:cxn ang="0">
                <a:pos x="21" y="952"/>
              </a:cxn>
              <a:cxn ang="0">
                <a:pos x="0" y="952"/>
              </a:cxn>
              <a:cxn ang="0">
                <a:pos x="0" y="947"/>
              </a:cxn>
              <a:cxn ang="0">
                <a:pos x="0" y="814"/>
              </a:cxn>
              <a:cxn ang="0">
                <a:pos x="21" y="814"/>
              </a:cxn>
              <a:cxn ang="0">
                <a:pos x="21" y="820"/>
              </a:cxn>
              <a:cxn ang="0">
                <a:pos x="0" y="820"/>
              </a:cxn>
              <a:cxn ang="0">
                <a:pos x="0" y="814"/>
              </a:cxn>
              <a:cxn ang="0">
                <a:pos x="0" y="677"/>
              </a:cxn>
              <a:cxn ang="0">
                <a:pos x="21" y="677"/>
              </a:cxn>
              <a:cxn ang="0">
                <a:pos x="21" y="682"/>
              </a:cxn>
              <a:cxn ang="0">
                <a:pos x="0" y="682"/>
              </a:cxn>
              <a:cxn ang="0">
                <a:pos x="0" y="677"/>
              </a:cxn>
              <a:cxn ang="0">
                <a:pos x="0" y="539"/>
              </a:cxn>
              <a:cxn ang="0">
                <a:pos x="21" y="539"/>
              </a:cxn>
              <a:cxn ang="0">
                <a:pos x="21" y="545"/>
              </a:cxn>
              <a:cxn ang="0">
                <a:pos x="0" y="545"/>
              </a:cxn>
              <a:cxn ang="0">
                <a:pos x="0" y="539"/>
              </a:cxn>
              <a:cxn ang="0">
                <a:pos x="0" y="407"/>
              </a:cxn>
              <a:cxn ang="0">
                <a:pos x="21" y="407"/>
              </a:cxn>
              <a:cxn ang="0">
                <a:pos x="21" y="413"/>
              </a:cxn>
              <a:cxn ang="0">
                <a:pos x="0" y="413"/>
              </a:cxn>
              <a:cxn ang="0">
                <a:pos x="0" y="407"/>
              </a:cxn>
              <a:cxn ang="0">
                <a:pos x="0" y="270"/>
              </a:cxn>
              <a:cxn ang="0">
                <a:pos x="21" y="270"/>
              </a:cxn>
              <a:cxn ang="0">
                <a:pos x="21" y="275"/>
              </a:cxn>
              <a:cxn ang="0">
                <a:pos x="0" y="275"/>
              </a:cxn>
              <a:cxn ang="0">
                <a:pos x="0" y="270"/>
              </a:cxn>
              <a:cxn ang="0">
                <a:pos x="0" y="138"/>
              </a:cxn>
              <a:cxn ang="0">
                <a:pos x="21" y="138"/>
              </a:cxn>
              <a:cxn ang="0">
                <a:pos x="21" y="143"/>
              </a:cxn>
              <a:cxn ang="0">
                <a:pos x="0" y="143"/>
              </a:cxn>
              <a:cxn ang="0">
                <a:pos x="0" y="138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84"/>
                </a:moveTo>
                <a:lnTo>
                  <a:pt x="21" y="1084"/>
                </a:lnTo>
                <a:lnTo>
                  <a:pt x="21" y="1089"/>
                </a:lnTo>
                <a:lnTo>
                  <a:pt x="0" y="1089"/>
                </a:lnTo>
                <a:lnTo>
                  <a:pt x="0" y="1084"/>
                </a:lnTo>
                <a:close/>
                <a:moveTo>
                  <a:pt x="0" y="947"/>
                </a:moveTo>
                <a:lnTo>
                  <a:pt x="21" y="947"/>
                </a:lnTo>
                <a:lnTo>
                  <a:pt x="21" y="952"/>
                </a:lnTo>
                <a:lnTo>
                  <a:pt x="0" y="952"/>
                </a:lnTo>
                <a:lnTo>
                  <a:pt x="0" y="947"/>
                </a:lnTo>
                <a:close/>
                <a:moveTo>
                  <a:pt x="0" y="814"/>
                </a:moveTo>
                <a:lnTo>
                  <a:pt x="21" y="814"/>
                </a:lnTo>
                <a:lnTo>
                  <a:pt x="21" y="820"/>
                </a:lnTo>
                <a:lnTo>
                  <a:pt x="0" y="820"/>
                </a:lnTo>
                <a:lnTo>
                  <a:pt x="0" y="814"/>
                </a:lnTo>
                <a:close/>
                <a:moveTo>
                  <a:pt x="0" y="677"/>
                </a:moveTo>
                <a:lnTo>
                  <a:pt x="21" y="677"/>
                </a:lnTo>
                <a:lnTo>
                  <a:pt x="21" y="682"/>
                </a:lnTo>
                <a:lnTo>
                  <a:pt x="0" y="682"/>
                </a:lnTo>
                <a:lnTo>
                  <a:pt x="0" y="677"/>
                </a:lnTo>
                <a:close/>
                <a:moveTo>
                  <a:pt x="0" y="539"/>
                </a:moveTo>
                <a:lnTo>
                  <a:pt x="21" y="539"/>
                </a:lnTo>
                <a:lnTo>
                  <a:pt x="21" y="545"/>
                </a:lnTo>
                <a:lnTo>
                  <a:pt x="0" y="545"/>
                </a:lnTo>
                <a:lnTo>
                  <a:pt x="0" y="539"/>
                </a:lnTo>
                <a:close/>
                <a:moveTo>
                  <a:pt x="0" y="407"/>
                </a:moveTo>
                <a:lnTo>
                  <a:pt x="21" y="407"/>
                </a:lnTo>
                <a:lnTo>
                  <a:pt x="21" y="413"/>
                </a:lnTo>
                <a:lnTo>
                  <a:pt x="0" y="413"/>
                </a:lnTo>
                <a:lnTo>
                  <a:pt x="0" y="407"/>
                </a:lnTo>
                <a:close/>
                <a:moveTo>
                  <a:pt x="0" y="270"/>
                </a:moveTo>
                <a:lnTo>
                  <a:pt x="21" y="270"/>
                </a:lnTo>
                <a:lnTo>
                  <a:pt x="21" y="275"/>
                </a:lnTo>
                <a:lnTo>
                  <a:pt x="0" y="275"/>
                </a:lnTo>
                <a:lnTo>
                  <a:pt x="0" y="270"/>
                </a:lnTo>
                <a:close/>
                <a:moveTo>
                  <a:pt x="0" y="138"/>
                </a:moveTo>
                <a:lnTo>
                  <a:pt x="21" y="138"/>
                </a:lnTo>
                <a:lnTo>
                  <a:pt x="21" y="143"/>
                </a:lnTo>
                <a:lnTo>
                  <a:pt x="0" y="143"/>
                </a:lnTo>
                <a:lnTo>
                  <a:pt x="0" y="138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944747" y="4847826"/>
            <a:ext cx="3398653" cy="11858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761095" y="4753296"/>
            <a:ext cx="75749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609600" y="4435126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88" name="Rectangle 16"/>
          <p:cNvSpPr>
            <a:spLocks noChangeArrowheads="1"/>
          </p:cNvSpPr>
          <p:nvPr/>
        </p:nvSpPr>
        <p:spPr bwMode="auto">
          <a:xfrm>
            <a:off x="609600" y="4122044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89" name="Rectangle 17"/>
          <p:cNvSpPr>
            <a:spLocks noChangeArrowheads="1"/>
          </p:cNvSpPr>
          <p:nvPr/>
        </p:nvSpPr>
        <p:spPr bwMode="auto">
          <a:xfrm>
            <a:off x="609600" y="3797103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3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609600" y="3481648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1" name="Rectangle 19"/>
          <p:cNvSpPr>
            <a:spLocks noChangeArrowheads="1"/>
          </p:cNvSpPr>
          <p:nvPr/>
        </p:nvSpPr>
        <p:spPr bwMode="auto">
          <a:xfrm>
            <a:off x="609600" y="3156707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5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2" name="Rectangle 20"/>
          <p:cNvSpPr>
            <a:spLocks noChangeArrowheads="1"/>
          </p:cNvSpPr>
          <p:nvPr/>
        </p:nvSpPr>
        <p:spPr bwMode="auto">
          <a:xfrm>
            <a:off x="609600" y="2843624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3" name="Rectangle 21"/>
          <p:cNvSpPr>
            <a:spLocks noChangeArrowheads="1"/>
          </p:cNvSpPr>
          <p:nvPr/>
        </p:nvSpPr>
        <p:spPr bwMode="auto">
          <a:xfrm>
            <a:off x="609600" y="2516311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7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4" name="Rectangle 22"/>
          <p:cNvSpPr>
            <a:spLocks noChangeArrowheads="1"/>
          </p:cNvSpPr>
          <p:nvPr/>
        </p:nvSpPr>
        <p:spPr bwMode="auto">
          <a:xfrm>
            <a:off x="609600" y="2191369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8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609600" y="1878286"/>
            <a:ext cx="227244" cy="27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9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07" name="Freeform 35"/>
          <p:cNvSpPr>
            <a:spLocks noEditPoints="1"/>
          </p:cNvSpPr>
          <p:nvPr/>
        </p:nvSpPr>
        <p:spPr bwMode="auto">
          <a:xfrm>
            <a:off x="5601309" y="2280953"/>
            <a:ext cx="2630026" cy="258226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2" y="0"/>
              </a:cxn>
              <a:cxn ang="0">
                <a:pos x="292" y="1089"/>
              </a:cxn>
              <a:cxn ang="0">
                <a:pos x="0" y="1089"/>
              </a:cxn>
              <a:cxn ang="0">
                <a:pos x="0" y="0"/>
              </a:cxn>
              <a:cxn ang="0">
                <a:pos x="722" y="476"/>
              </a:cxn>
              <a:cxn ang="0">
                <a:pos x="1014" y="476"/>
              </a:cxn>
              <a:cxn ang="0">
                <a:pos x="1014" y="1089"/>
              </a:cxn>
              <a:cxn ang="0">
                <a:pos x="722" y="1089"/>
              </a:cxn>
              <a:cxn ang="0">
                <a:pos x="722" y="476"/>
              </a:cxn>
              <a:cxn ang="0">
                <a:pos x="1444" y="756"/>
              </a:cxn>
              <a:cxn ang="0">
                <a:pos x="1737" y="756"/>
              </a:cxn>
              <a:cxn ang="0">
                <a:pos x="1737" y="1089"/>
              </a:cxn>
              <a:cxn ang="0">
                <a:pos x="1444" y="1089"/>
              </a:cxn>
              <a:cxn ang="0">
                <a:pos x="1444" y="756"/>
              </a:cxn>
            </a:cxnLst>
            <a:rect l="0" t="0" r="r" b="b"/>
            <a:pathLst>
              <a:path w="1737" h="1089">
                <a:moveTo>
                  <a:pt x="0" y="0"/>
                </a:moveTo>
                <a:lnTo>
                  <a:pt x="292" y="0"/>
                </a:lnTo>
                <a:lnTo>
                  <a:pt x="292" y="1089"/>
                </a:lnTo>
                <a:lnTo>
                  <a:pt x="0" y="1089"/>
                </a:lnTo>
                <a:lnTo>
                  <a:pt x="0" y="0"/>
                </a:lnTo>
                <a:close/>
                <a:moveTo>
                  <a:pt x="722" y="476"/>
                </a:moveTo>
                <a:lnTo>
                  <a:pt x="1014" y="476"/>
                </a:lnTo>
                <a:lnTo>
                  <a:pt x="1014" y="1089"/>
                </a:lnTo>
                <a:lnTo>
                  <a:pt x="722" y="1089"/>
                </a:lnTo>
                <a:lnTo>
                  <a:pt x="722" y="476"/>
                </a:lnTo>
                <a:close/>
                <a:moveTo>
                  <a:pt x="1444" y="756"/>
                </a:moveTo>
                <a:lnTo>
                  <a:pt x="1737" y="756"/>
                </a:lnTo>
                <a:lnTo>
                  <a:pt x="1737" y="1089"/>
                </a:lnTo>
                <a:lnTo>
                  <a:pt x="1444" y="1089"/>
                </a:lnTo>
                <a:lnTo>
                  <a:pt x="1444" y="756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8" name="Rectangle 36"/>
          <p:cNvSpPr>
            <a:spLocks noChangeArrowheads="1"/>
          </p:cNvSpPr>
          <p:nvPr/>
        </p:nvSpPr>
        <p:spPr bwMode="auto">
          <a:xfrm>
            <a:off x="5271231" y="1967952"/>
            <a:ext cx="7571" cy="2883406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9" name="Freeform 37"/>
          <p:cNvSpPr>
            <a:spLocks noEditPoints="1"/>
          </p:cNvSpPr>
          <p:nvPr/>
        </p:nvSpPr>
        <p:spPr bwMode="auto">
          <a:xfrm>
            <a:off x="5239435" y="1967952"/>
            <a:ext cx="31797" cy="2895262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63"/>
              </a:cxn>
              <a:cxn ang="0">
                <a:pos x="21" y="1063"/>
              </a:cxn>
              <a:cxn ang="0">
                <a:pos x="21" y="1068"/>
              </a:cxn>
              <a:cxn ang="0">
                <a:pos x="0" y="1068"/>
              </a:cxn>
              <a:cxn ang="0">
                <a:pos x="0" y="1063"/>
              </a:cxn>
              <a:cxn ang="0">
                <a:pos x="0" y="915"/>
              </a:cxn>
              <a:cxn ang="0">
                <a:pos x="21" y="915"/>
              </a:cxn>
              <a:cxn ang="0">
                <a:pos x="21" y="920"/>
              </a:cxn>
              <a:cxn ang="0">
                <a:pos x="0" y="920"/>
              </a:cxn>
              <a:cxn ang="0">
                <a:pos x="0" y="915"/>
              </a:cxn>
              <a:cxn ang="0">
                <a:pos x="0" y="762"/>
              </a:cxn>
              <a:cxn ang="0">
                <a:pos x="21" y="762"/>
              </a:cxn>
              <a:cxn ang="0">
                <a:pos x="21" y="767"/>
              </a:cxn>
              <a:cxn ang="0">
                <a:pos x="0" y="767"/>
              </a:cxn>
              <a:cxn ang="0">
                <a:pos x="0" y="762"/>
              </a:cxn>
              <a:cxn ang="0">
                <a:pos x="0" y="608"/>
              </a:cxn>
              <a:cxn ang="0">
                <a:pos x="21" y="608"/>
              </a:cxn>
              <a:cxn ang="0">
                <a:pos x="21" y="613"/>
              </a:cxn>
              <a:cxn ang="0">
                <a:pos x="0" y="613"/>
              </a:cxn>
              <a:cxn ang="0">
                <a:pos x="0" y="608"/>
              </a:cxn>
              <a:cxn ang="0">
                <a:pos x="0" y="460"/>
              </a:cxn>
              <a:cxn ang="0">
                <a:pos x="21" y="460"/>
              </a:cxn>
              <a:cxn ang="0">
                <a:pos x="21" y="465"/>
              </a:cxn>
              <a:cxn ang="0">
                <a:pos x="0" y="465"/>
              </a:cxn>
              <a:cxn ang="0">
                <a:pos x="0" y="460"/>
              </a:cxn>
              <a:cxn ang="0">
                <a:pos x="0" y="307"/>
              </a:cxn>
              <a:cxn ang="0">
                <a:pos x="21" y="307"/>
              </a:cxn>
              <a:cxn ang="0">
                <a:pos x="21" y="312"/>
              </a:cxn>
              <a:cxn ang="0">
                <a:pos x="0" y="312"/>
              </a:cxn>
              <a:cxn ang="0">
                <a:pos x="0" y="307"/>
              </a:cxn>
              <a:cxn ang="0">
                <a:pos x="0" y="154"/>
              </a:cxn>
              <a:cxn ang="0">
                <a:pos x="21" y="154"/>
              </a:cxn>
              <a:cxn ang="0">
                <a:pos x="21" y="159"/>
              </a:cxn>
              <a:cxn ang="0">
                <a:pos x="0" y="159"/>
              </a:cxn>
              <a:cxn ang="0">
                <a:pos x="0" y="154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63"/>
                </a:moveTo>
                <a:lnTo>
                  <a:pt x="21" y="1063"/>
                </a:lnTo>
                <a:lnTo>
                  <a:pt x="21" y="1068"/>
                </a:lnTo>
                <a:lnTo>
                  <a:pt x="0" y="1068"/>
                </a:lnTo>
                <a:lnTo>
                  <a:pt x="0" y="1063"/>
                </a:lnTo>
                <a:close/>
                <a:moveTo>
                  <a:pt x="0" y="915"/>
                </a:moveTo>
                <a:lnTo>
                  <a:pt x="21" y="915"/>
                </a:lnTo>
                <a:lnTo>
                  <a:pt x="21" y="920"/>
                </a:lnTo>
                <a:lnTo>
                  <a:pt x="0" y="920"/>
                </a:lnTo>
                <a:lnTo>
                  <a:pt x="0" y="915"/>
                </a:lnTo>
                <a:close/>
                <a:moveTo>
                  <a:pt x="0" y="762"/>
                </a:moveTo>
                <a:lnTo>
                  <a:pt x="21" y="762"/>
                </a:lnTo>
                <a:lnTo>
                  <a:pt x="21" y="767"/>
                </a:lnTo>
                <a:lnTo>
                  <a:pt x="0" y="767"/>
                </a:lnTo>
                <a:lnTo>
                  <a:pt x="0" y="762"/>
                </a:lnTo>
                <a:close/>
                <a:moveTo>
                  <a:pt x="0" y="608"/>
                </a:moveTo>
                <a:lnTo>
                  <a:pt x="21" y="608"/>
                </a:lnTo>
                <a:lnTo>
                  <a:pt x="21" y="613"/>
                </a:lnTo>
                <a:lnTo>
                  <a:pt x="0" y="613"/>
                </a:lnTo>
                <a:lnTo>
                  <a:pt x="0" y="608"/>
                </a:lnTo>
                <a:close/>
                <a:moveTo>
                  <a:pt x="0" y="460"/>
                </a:moveTo>
                <a:lnTo>
                  <a:pt x="21" y="460"/>
                </a:lnTo>
                <a:lnTo>
                  <a:pt x="21" y="465"/>
                </a:lnTo>
                <a:lnTo>
                  <a:pt x="0" y="465"/>
                </a:lnTo>
                <a:lnTo>
                  <a:pt x="0" y="460"/>
                </a:lnTo>
                <a:close/>
                <a:moveTo>
                  <a:pt x="0" y="307"/>
                </a:moveTo>
                <a:lnTo>
                  <a:pt x="21" y="307"/>
                </a:lnTo>
                <a:lnTo>
                  <a:pt x="21" y="312"/>
                </a:lnTo>
                <a:lnTo>
                  <a:pt x="0" y="312"/>
                </a:lnTo>
                <a:lnTo>
                  <a:pt x="0" y="307"/>
                </a:lnTo>
                <a:close/>
                <a:moveTo>
                  <a:pt x="0" y="154"/>
                </a:moveTo>
                <a:lnTo>
                  <a:pt x="21" y="154"/>
                </a:lnTo>
                <a:lnTo>
                  <a:pt x="21" y="159"/>
                </a:lnTo>
                <a:lnTo>
                  <a:pt x="0" y="159"/>
                </a:lnTo>
                <a:lnTo>
                  <a:pt x="0" y="154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0" name="Rectangle 38"/>
          <p:cNvSpPr>
            <a:spLocks noChangeArrowheads="1"/>
          </p:cNvSpPr>
          <p:nvPr/>
        </p:nvSpPr>
        <p:spPr bwMode="auto">
          <a:xfrm>
            <a:off x="5271231" y="4851358"/>
            <a:ext cx="3281098" cy="11857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2" name="Rectangle 40"/>
          <p:cNvSpPr>
            <a:spLocks noChangeArrowheads="1"/>
          </p:cNvSpPr>
          <p:nvPr/>
        </p:nvSpPr>
        <p:spPr bwMode="auto">
          <a:xfrm>
            <a:off x="5119443" y="4779441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3" name="Rectangle 41"/>
          <p:cNvSpPr>
            <a:spLocks noChangeArrowheads="1"/>
          </p:cNvSpPr>
          <p:nvPr/>
        </p:nvSpPr>
        <p:spPr bwMode="auto">
          <a:xfrm>
            <a:off x="4962349" y="441427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4" name="Rectangle 42"/>
          <p:cNvSpPr>
            <a:spLocks noChangeArrowheads="1"/>
          </p:cNvSpPr>
          <p:nvPr/>
        </p:nvSpPr>
        <p:spPr bwMode="auto">
          <a:xfrm>
            <a:off x="4962349" y="4051475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5" name="Rectangle 43"/>
          <p:cNvSpPr>
            <a:spLocks noChangeArrowheads="1"/>
          </p:cNvSpPr>
          <p:nvPr/>
        </p:nvSpPr>
        <p:spPr bwMode="auto">
          <a:xfrm>
            <a:off x="4962349" y="3700534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6" name="Rectangle 44"/>
          <p:cNvSpPr>
            <a:spLocks noChangeArrowheads="1"/>
          </p:cNvSpPr>
          <p:nvPr/>
        </p:nvSpPr>
        <p:spPr bwMode="auto">
          <a:xfrm>
            <a:off x="4962349" y="3337738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8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7" name="Rectangle 45"/>
          <p:cNvSpPr>
            <a:spLocks noChangeArrowheads="1"/>
          </p:cNvSpPr>
          <p:nvPr/>
        </p:nvSpPr>
        <p:spPr bwMode="auto">
          <a:xfrm>
            <a:off x="4845330" y="2972570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0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8" name="Rectangle 46"/>
          <p:cNvSpPr>
            <a:spLocks noChangeArrowheads="1"/>
          </p:cNvSpPr>
          <p:nvPr/>
        </p:nvSpPr>
        <p:spPr bwMode="auto">
          <a:xfrm>
            <a:off x="4845330" y="2609772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19" name="Rectangle 47"/>
          <p:cNvSpPr>
            <a:spLocks noChangeArrowheads="1"/>
          </p:cNvSpPr>
          <p:nvPr/>
        </p:nvSpPr>
        <p:spPr bwMode="auto">
          <a:xfrm>
            <a:off x="4845330" y="2258831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20" name="Rectangle 48"/>
          <p:cNvSpPr>
            <a:spLocks noChangeArrowheads="1"/>
          </p:cNvSpPr>
          <p:nvPr/>
        </p:nvSpPr>
        <p:spPr bwMode="auto">
          <a:xfrm>
            <a:off x="4845330" y="1896035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600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3" name="Rectangle 23"/>
          <p:cNvSpPr>
            <a:spLocks noChangeArrowheads="1"/>
          </p:cNvSpPr>
          <p:nvPr/>
        </p:nvSpPr>
        <p:spPr bwMode="auto">
          <a:xfrm rot="3136105">
            <a:off x="5479494" y="5613546"/>
            <a:ext cx="165327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Universidade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de Sao Paul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4" name="Rectangle 23"/>
          <p:cNvSpPr>
            <a:spLocks noChangeArrowheads="1"/>
          </p:cNvSpPr>
          <p:nvPr/>
        </p:nvSpPr>
        <p:spPr bwMode="auto">
          <a:xfrm rot="3136105">
            <a:off x="6549853" y="5688346"/>
            <a:ext cx="19330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Universidade Estadual Paulista </a:t>
            </a:r>
            <a:br>
              <a:rPr lang="pt-BR" sz="1200" dirty="0" smtClean="0">
                <a:solidFill>
                  <a:srgbClr val="000000"/>
                </a:solidFill>
                <a:latin typeface="+mn-lt"/>
              </a:rPr>
            </a:br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Julio de Mesquita Filh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5" name="Rectangle 23"/>
          <p:cNvSpPr>
            <a:spLocks noChangeArrowheads="1"/>
          </p:cNvSpPr>
          <p:nvPr/>
        </p:nvSpPr>
        <p:spPr bwMode="auto">
          <a:xfrm rot="3136105">
            <a:off x="7750580" y="5483166"/>
            <a:ext cx="14141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Universidade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Estadual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de Campina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2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Note: Numbers of papers and citations from each institution within areas of Turkey’s global research competencies.</a:t>
            </a:r>
          </a:p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Source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グループ化 49"/>
          <p:cNvGrpSpPr/>
          <p:nvPr/>
        </p:nvGrpSpPr>
        <p:grpSpPr>
          <a:xfrm>
            <a:off x="5331758" y="1981589"/>
            <a:ext cx="3168000" cy="2304000"/>
            <a:chOff x="5331758" y="1981590"/>
            <a:chExt cx="3168000" cy="1655895"/>
          </a:xfrm>
        </p:grpSpPr>
        <p:cxnSp>
          <p:nvCxnSpPr>
            <p:cNvPr id="36" name="直線コネクタ 35"/>
            <p:cNvCxnSpPr/>
            <p:nvPr/>
          </p:nvCxnSpPr>
          <p:spPr bwMode="auto">
            <a:xfrm>
              <a:off x="5331758" y="1981590"/>
              <a:ext cx="3168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直線コネクタ 36"/>
            <p:cNvCxnSpPr/>
            <p:nvPr/>
          </p:nvCxnSpPr>
          <p:spPr bwMode="auto">
            <a:xfrm>
              <a:off x="5331758" y="3222888"/>
              <a:ext cx="3168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直線コネクタ 37"/>
            <p:cNvCxnSpPr/>
            <p:nvPr/>
          </p:nvCxnSpPr>
          <p:spPr bwMode="auto">
            <a:xfrm>
              <a:off x="5331758" y="2809122"/>
              <a:ext cx="3168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直線コネクタ 39"/>
            <p:cNvCxnSpPr/>
            <p:nvPr/>
          </p:nvCxnSpPr>
          <p:spPr bwMode="auto">
            <a:xfrm>
              <a:off x="5331758" y="3636654"/>
              <a:ext cx="3168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直線コネクタ 40"/>
            <p:cNvCxnSpPr/>
            <p:nvPr/>
          </p:nvCxnSpPr>
          <p:spPr bwMode="auto">
            <a:xfrm>
              <a:off x="5331758" y="2395356"/>
              <a:ext cx="3168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1" name="グループ化 50"/>
          <p:cNvGrpSpPr/>
          <p:nvPr/>
        </p:nvGrpSpPr>
        <p:grpSpPr>
          <a:xfrm>
            <a:off x="936542" y="1957206"/>
            <a:ext cx="3312000" cy="2412000"/>
            <a:chOff x="936542" y="1948062"/>
            <a:chExt cx="3312000" cy="2412000"/>
          </a:xfrm>
        </p:grpSpPr>
        <p:cxnSp>
          <p:nvCxnSpPr>
            <p:cNvPr id="44" name="直線コネクタ 43"/>
            <p:cNvCxnSpPr/>
            <p:nvPr/>
          </p:nvCxnSpPr>
          <p:spPr bwMode="auto">
            <a:xfrm>
              <a:off x="936542" y="1948062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直線コネクタ 44"/>
            <p:cNvCxnSpPr/>
            <p:nvPr/>
          </p:nvCxnSpPr>
          <p:spPr bwMode="auto">
            <a:xfrm>
              <a:off x="936542" y="3394677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直線コネクタ 45"/>
            <p:cNvCxnSpPr/>
            <p:nvPr/>
          </p:nvCxnSpPr>
          <p:spPr bwMode="auto">
            <a:xfrm>
              <a:off x="936542" y="2912472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直線コネクタ 46"/>
            <p:cNvCxnSpPr/>
            <p:nvPr/>
          </p:nvCxnSpPr>
          <p:spPr bwMode="auto">
            <a:xfrm>
              <a:off x="936542" y="4359089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直線コネクタ 47"/>
            <p:cNvCxnSpPr/>
            <p:nvPr/>
          </p:nvCxnSpPr>
          <p:spPr bwMode="auto">
            <a:xfrm>
              <a:off x="936542" y="3876882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直線コネクタ 48"/>
            <p:cNvCxnSpPr/>
            <p:nvPr/>
          </p:nvCxnSpPr>
          <p:spPr bwMode="auto">
            <a:xfrm>
              <a:off x="936542" y="2430267"/>
              <a:ext cx="3312000" cy="97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374650" y="0"/>
            <a:ext cx="8769350" cy="836613"/>
          </a:xfrm>
        </p:spPr>
        <p:txBody>
          <a:bodyPr/>
          <a:lstStyle/>
          <a:p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Collaboration targets? – </a:t>
            </a:r>
            <a:r>
              <a:rPr lang="en-US" altLang="ja-JP" sz="2600" u="sng" dirty="0" smtClean="0">
                <a:latin typeface="Arial" charset="0"/>
                <a:ea typeface="ＭＳ Ｐゴシック" charset="-128"/>
                <a:cs typeface="Arial" charset="0"/>
              </a:rPr>
              <a:t>Indian</a:t>
            </a:r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 Institutions actively conducting research in Turkey’s strength areas</a:t>
            </a:r>
            <a:endParaRPr kumimoji="1" lang="ja-JP" altLang="en-US" sz="2600" dirty="0" smtClean="0">
              <a:ea typeface="ＭＳ Ｐゴシック" charset="-128"/>
              <a:cs typeface="Arial" charset="0"/>
            </a:endParaRPr>
          </a:p>
        </p:txBody>
      </p:sp>
      <p:sp>
        <p:nvSpPr>
          <p:cNvPr id="21508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CF20DD8D-818B-45A0-B8ED-A23407BAADB4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4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50862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# of Paper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3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06163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Total Citation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67" name="Rectangle 23"/>
          <p:cNvSpPr>
            <a:spLocks noChangeArrowheads="1"/>
          </p:cNvSpPr>
          <p:nvPr/>
        </p:nvSpPr>
        <p:spPr bwMode="auto">
          <a:xfrm rot="3136105">
            <a:off x="1215470" y="5454958"/>
            <a:ext cx="12943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 of Madra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8" name="Rectangle 23"/>
          <p:cNvSpPr>
            <a:spLocks noChangeArrowheads="1"/>
          </p:cNvSpPr>
          <p:nvPr/>
        </p:nvSpPr>
        <p:spPr bwMode="auto">
          <a:xfrm rot="3136105">
            <a:off x="2392170" y="5332591"/>
            <a:ext cx="984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Anna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" name="Rectangle 23"/>
          <p:cNvSpPr>
            <a:spLocks noChangeArrowheads="1"/>
          </p:cNvSpPr>
          <p:nvPr/>
        </p:nvSpPr>
        <p:spPr bwMode="auto">
          <a:xfrm rot="3136105">
            <a:off x="3402846" y="5575499"/>
            <a:ext cx="159922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Aligarh Muslim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3" name="Rectangle 23"/>
          <p:cNvSpPr>
            <a:spLocks noChangeArrowheads="1"/>
          </p:cNvSpPr>
          <p:nvPr/>
        </p:nvSpPr>
        <p:spPr bwMode="auto">
          <a:xfrm rot="3136105">
            <a:off x="5638846" y="5332591"/>
            <a:ext cx="984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Anna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4" name="Rectangle 23"/>
          <p:cNvSpPr>
            <a:spLocks noChangeArrowheads="1"/>
          </p:cNvSpPr>
          <p:nvPr/>
        </p:nvSpPr>
        <p:spPr bwMode="auto">
          <a:xfrm rot="3136105">
            <a:off x="6548648" y="5644645"/>
            <a:ext cx="17740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z="1200" dirty="0" smtClean="0">
                <a:solidFill>
                  <a:srgbClr val="000000"/>
                </a:solidFill>
                <a:latin typeface="+mn-lt"/>
              </a:rPr>
              <a:t>CSIR - Chemistry and Physic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5" name="Rectangle 23"/>
          <p:cNvSpPr>
            <a:spLocks noChangeArrowheads="1"/>
          </p:cNvSpPr>
          <p:nvPr/>
        </p:nvSpPr>
        <p:spPr bwMode="auto">
          <a:xfrm rot="3136105">
            <a:off x="7756684" y="5454958"/>
            <a:ext cx="12943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 of Madra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105" name="Freeform 9"/>
          <p:cNvSpPr>
            <a:spLocks noEditPoints="1"/>
          </p:cNvSpPr>
          <p:nvPr/>
        </p:nvSpPr>
        <p:spPr bwMode="auto">
          <a:xfrm>
            <a:off x="1283949" y="2378614"/>
            <a:ext cx="2653596" cy="248029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7" y="0"/>
              </a:cxn>
              <a:cxn ang="0">
                <a:pos x="297" y="1046"/>
              </a:cxn>
              <a:cxn ang="0">
                <a:pos x="0" y="1046"/>
              </a:cxn>
              <a:cxn ang="0">
                <a:pos x="0" y="0"/>
              </a:cxn>
              <a:cxn ang="0">
                <a:pos x="738" y="0"/>
              </a:cxn>
              <a:cxn ang="0">
                <a:pos x="1036" y="0"/>
              </a:cxn>
              <a:cxn ang="0">
                <a:pos x="1036" y="1046"/>
              </a:cxn>
              <a:cxn ang="0">
                <a:pos x="738" y="1046"/>
              </a:cxn>
              <a:cxn ang="0">
                <a:pos x="738" y="0"/>
              </a:cxn>
              <a:cxn ang="0">
                <a:pos x="1482" y="121"/>
              </a:cxn>
              <a:cxn ang="0">
                <a:pos x="1779" y="121"/>
              </a:cxn>
              <a:cxn ang="0">
                <a:pos x="1779" y="1046"/>
              </a:cxn>
              <a:cxn ang="0">
                <a:pos x="1482" y="1046"/>
              </a:cxn>
              <a:cxn ang="0">
                <a:pos x="1482" y="121"/>
              </a:cxn>
            </a:cxnLst>
            <a:rect l="0" t="0" r="r" b="b"/>
            <a:pathLst>
              <a:path w="1779" h="1046">
                <a:moveTo>
                  <a:pt x="0" y="0"/>
                </a:moveTo>
                <a:lnTo>
                  <a:pt x="297" y="0"/>
                </a:lnTo>
                <a:lnTo>
                  <a:pt x="297" y="1046"/>
                </a:lnTo>
                <a:lnTo>
                  <a:pt x="0" y="1046"/>
                </a:lnTo>
                <a:lnTo>
                  <a:pt x="0" y="0"/>
                </a:lnTo>
                <a:close/>
                <a:moveTo>
                  <a:pt x="738" y="0"/>
                </a:moveTo>
                <a:lnTo>
                  <a:pt x="1036" y="0"/>
                </a:lnTo>
                <a:lnTo>
                  <a:pt x="1036" y="1046"/>
                </a:lnTo>
                <a:lnTo>
                  <a:pt x="738" y="1046"/>
                </a:lnTo>
                <a:lnTo>
                  <a:pt x="738" y="0"/>
                </a:lnTo>
                <a:close/>
                <a:moveTo>
                  <a:pt x="1482" y="121"/>
                </a:moveTo>
                <a:lnTo>
                  <a:pt x="1779" y="121"/>
                </a:lnTo>
                <a:lnTo>
                  <a:pt x="1779" y="1046"/>
                </a:lnTo>
                <a:lnTo>
                  <a:pt x="1482" y="1046"/>
                </a:lnTo>
                <a:lnTo>
                  <a:pt x="1482" y="121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06" name="Rectangle 10"/>
          <p:cNvSpPr>
            <a:spLocks noChangeArrowheads="1"/>
          </p:cNvSpPr>
          <p:nvPr/>
        </p:nvSpPr>
        <p:spPr bwMode="auto">
          <a:xfrm>
            <a:off x="951317" y="1963649"/>
            <a:ext cx="7459" cy="2883406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07" name="Freeform 11"/>
          <p:cNvSpPr>
            <a:spLocks noEditPoints="1"/>
          </p:cNvSpPr>
          <p:nvPr/>
        </p:nvSpPr>
        <p:spPr bwMode="auto">
          <a:xfrm>
            <a:off x="919993" y="1963649"/>
            <a:ext cx="31325" cy="2895261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15"/>
              </a:cxn>
              <a:cxn ang="0">
                <a:pos x="21" y="1015"/>
              </a:cxn>
              <a:cxn ang="0">
                <a:pos x="21" y="1021"/>
              </a:cxn>
              <a:cxn ang="0">
                <a:pos x="0" y="1021"/>
              </a:cxn>
              <a:cxn ang="0">
                <a:pos x="0" y="1015"/>
              </a:cxn>
              <a:cxn ang="0">
                <a:pos x="0" y="814"/>
              </a:cxn>
              <a:cxn ang="0">
                <a:pos x="21" y="814"/>
              </a:cxn>
              <a:cxn ang="0">
                <a:pos x="21" y="820"/>
              </a:cxn>
              <a:cxn ang="0">
                <a:pos x="0" y="820"/>
              </a:cxn>
              <a:cxn ang="0">
                <a:pos x="0" y="814"/>
              </a:cxn>
              <a:cxn ang="0">
                <a:pos x="0" y="608"/>
              </a:cxn>
              <a:cxn ang="0">
                <a:pos x="21" y="608"/>
              </a:cxn>
              <a:cxn ang="0">
                <a:pos x="21" y="613"/>
              </a:cxn>
              <a:cxn ang="0">
                <a:pos x="0" y="613"/>
              </a:cxn>
              <a:cxn ang="0">
                <a:pos x="0" y="608"/>
              </a:cxn>
              <a:cxn ang="0">
                <a:pos x="0" y="407"/>
              </a:cxn>
              <a:cxn ang="0">
                <a:pos x="21" y="407"/>
              </a:cxn>
              <a:cxn ang="0">
                <a:pos x="21" y="413"/>
              </a:cxn>
              <a:cxn ang="0">
                <a:pos x="0" y="413"/>
              </a:cxn>
              <a:cxn ang="0">
                <a:pos x="0" y="407"/>
              </a:cxn>
              <a:cxn ang="0">
                <a:pos x="0" y="206"/>
              </a:cxn>
              <a:cxn ang="0">
                <a:pos x="21" y="206"/>
              </a:cxn>
              <a:cxn ang="0">
                <a:pos x="21" y="212"/>
              </a:cxn>
              <a:cxn ang="0">
                <a:pos x="0" y="212"/>
              </a:cxn>
              <a:cxn ang="0">
                <a:pos x="0" y="206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15"/>
                </a:moveTo>
                <a:lnTo>
                  <a:pt x="21" y="1015"/>
                </a:lnTo>
                <a:lnTo>
                  <a:pt x="21" y="1021"/>
                </a:lnTo>
                <a:lnTo>
                  <a:pt x="0" y="1021"/>
                </a:lnTo>
                <a:lnTo>
                  <a:pt x="0" y="1015"/>
                </a:lnTo>
                <a:close/>
                <a:moveTo>
                  <a:pt x="0" y="814"/>
                </a:moveTo>
                <a:lnTo>
                  <a:pt x="21" y="814"/>
                </a:lnTo>
                <a:lnTo>
                  <a:pt x="21" y="820"/>
                </a:lnTo>
                <a:lnTo>
                  <a:pt x="0" y="820"/>
                </a:lnTo>
                <a:lnTo>
                  <a:pt x="0" y="814"/>
                </a:lnTo>
                <a:close/>
                <a:moveTo>
                  <a:pt x="0" y="608"/>
                </a:moveTo>
                <a:lnTo>
                  <a:pt x="21" y="608"/>
                </a:lnTo>
                <a:lnTo>
                  <a:pt x="21" y="613"/>
                </a:lnTo>
                <a:lnTo>
                  <a:pt x="0" y="613"/>
                </a:lnTo>
                <a:lnTo>
                  <a:pt x="0" y="608"/>
                </a:lnTo>
                <a:close/>
                <a:moveTo>
                  <a:pt x="0" y="407"/>
                </a:moveTo>
                <a:lnTo>
                  <a:pt x="21" y="407"/>
                </a:lnTo>
                <a:lnTo>
                  <a:pt x="21" y="413"/>
                </a:lnTo>
                <a:lnTo>
                  <a:pt x="0" y="413"/>
                </a:lnTo>
                <a:lnTo>
                  <a:pt x="0" y="407"/>
                </a:lnTo>
                <a:close/>
                <a:moveTo>
                  <a:pt x="0" y="206"/>
                </a:moveTo>
                <a:lnTo>
                  <a:pt x="21" y="206"/>
                </a:lnTo>
                <a:lnTo>
                  <a:pt x="21" y="212"/>
                </a:lnTo>
                <a:lnTo>
                  <a:pt x="0" y="212"/>
                </a:lnTo>
                <a:lnTo>
                  <a:pt x="0" y="206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08" name="Rectangle 12"/>
          <p:cNvSpPr>
            <a:spLocks noChangeArrowheads="1"/>
          </p:cNvSpPr>
          <p:nvPr/>
        </p:nvSpPr>
        <p:spPr bwMode="auto">
          <a:xfrm>
            <a:off x="951317" y="4847055"/>
            <a:ext cx="3311401" cy="11855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10" name="Rectangle 14"/>
          <p:cNvSpPr>
            <a:spLocks noChangeArrowheads="1"/>
          </p:cNvSpPr>
          <p:nvPr/>
        </p:nvSpPr>
        <p:spPr bwMode="auto">
          <a:xfrm>
            <a:off x="753248" y="4775138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1" name="Rectangle 15"/>
          <p:cNvSpPr>
            <a:spLocks noChangeArrowheads="1"/>
          </p:cNvSpPr>
          <p:nvPr/>
        </p:nvSpPr>
        <p:spPr bwMode="auto">
          <a:xfrm>
            <a:off x="674702" y="4298523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2" name="Rectangle 16"/>
          <p:cNvSpPr>
            <a:spLocks noChangeArrowheads="1"/>
          </p:cNvSpPr>
          <p:nvPr/>
        </p:nvSpPr>
        <p:spPr bwMode="auto">
          <a:xfrm>
            <a:off x="674702" y="3810051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674702" y="3333435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674702" y="2856820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8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5" name="Rectangle 19"/>
          <p:cNvSpPr>
            <a:spLocks noChangeArrowheads="1"/>
          </p:cNvSpPr>
          <p:nvPr/>
        </p:nvSpPr>
        <p:spPr bwMode="auto">
          <a:xfrm>
            <a:off x="596154" y="2368348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16" name="Rectangle 20"/>
          <p:cNvSpPr>
            <a:spLocks noChangeArrowheads="1"/>
          </p:cNvSpPr>
          <p:nvPr/>
        </p:nvSpPr>
        <p:spPr bwMode="auto">
          <a:xfrm>
            <a:off x="596154" y="189173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2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28" name="Freeform 32"/>
          <p:cNvSpPr>
            <a:spLocks noEditPoints="1"/>
          </p:cNvSpPr>
          <p:nvPr/>
        </p:nvSpPr>
        <p:spPr bwMode="auto">
          <a:xfrm>
            <a:off x="5609743" y="2224972"/>
            <a:ext cx="2633341" cy="263857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7" y="0"/>
              </a:cxn>
              <a:cxn ang="0">
                <a:pos x="297" y="1115"/>
              </a:cxn>
              <a:cxn ang="0">
                <a:pos x="0" y="1115"/>
              </a:cxn>
              <a:cxn ang="0">
                <a:pos x="0" y="0"/>
              </a:cxn>
              <a:cxn ang="0">
                <a:pos x="738" y="497"/>
              </a:cxn>
              <a:cxn ang="0">
                <a:pos x="1036" y="497"/>
              </a:cxn>
              <a:cxn ang="0">
                <a:pos x="1036" y="1115"/>
              </a:cxn>
              <a:cxn ang="0">
                <a:pos x="738" y="1115"/>
              </a:cxn>
              <a:cxn ang="0">
                <a:pos x="738" y="497"/>
              </a:cxn>
              <a:cxn ang="0">
                <a:pos x="1482" y="555"/>
              </a:cxn>
              <a:cxn ang="0">
                <a:pos x="1779" y="555"/>
              </a:cxn>
              <a:cxn ang="0">
                <a:pos x="1779" y="1115"/>
              </a:cxn>
              <a:cxn ang="0">
                <a:pos x="1482" y="1115"/>
              </a:cxn>
              <a:cxn ang="0">
                <a:pos x="1482" y="555"/>
              </a:cxn>
            </a:cxnLst>
            <a:rect l="0" t="0" r="r" b="b"/>
            <a:pathLst>
              <a:path w="1779" h="1115">
                <a:moveTo>
                  <a:pt x="0" y="0"/>
                </a:moveTo>
                <a:lnTo>
                  <a:pt x="297" y="0"/>
                </a:lnTo>
                <a:lnTo>
                  <a:pt x="297" y="1115"/>
                </a:lnTo>
                <a:lnTo>
                  <a:pt x="0" y="1115"/>
                </a:lnTo>
                <a:lnTo>
                  <a:pt x="0" y="0"/>
                </a:lnTo>
                <a:close/>
                <a:moveTo>
                  <a:pt x="738" y="497"/>
                </a:moveTo>
                <a:lnTo>
                  <a:pt x="1036" y="497"/>
                </a:lnTo>
                <a:lnTo>
                  <a:pt x="1036" y="1115"/>
                </a:lnTo>
                <a:lnTo>
                  <a:pt x="738" y="1115"/>
                </a:lnTo>
                <a:lnTo>
                  <a:pt x="738" y="497"/>
                </a:lnTo>
                <a:close/>
                <a:moveTo>
                  <a:pt x="1482" y="555"/>
                </a:moveTo>
                <a:lnTo>
                  <a:pt x="1779" y="555"/>
                </a:lnTo>
                <a:lnTo>
                  <a:pt x="1779" y="1115"/>
                </a:lnTo>
                <a:lnTo>
                  <a:pt x="1482" y="1115"/>
                </a:lnTo>
                <a:lnTo>
                  <a:pt x="1482" y="555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29" name="Rectangle 33"/>
          <p:cNvSpPr>
            <a:spLocks noChangeArrowheads="1"/>
          </p:cNvSpPr>
          <p:nvPr/>
        </p:nvSpPr>
        <p:spPr bwMode="auto">
          <a:xfrm>
            <a:off x="5279651" y="1974130"/>
            <a:ext cx="7402" cy="2877588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30" name="Freeform 34"/>
          <p:cNvSpPr>
            <a:spLocks noEditPoints="1"/>
          </p:cNvSpPr>
          <p:nvPr/>
        </p:nvSpPr>
        <p:spPr bwMode="auto">
          <a:xfrm>
            <a:off x="5248565" y="1974130"/>
            <a:ext cx="31085" cy="2889420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973"/>
              </a:cxn>
              <a:cxn ang="0">
                <a:pos x="21" y="973"/>
              </a:cxn>
              <a:cxn ang="0">
                <a:pos x="21" y="978"/>
              </a:cxn>
              <a:cxn ang="0">
                <a:pos x="0" y="978"/>
              </a:cxn>
              <a:cxn ang="0">
                <a:pos x="0" y="973"/>
              </a:cxn>
              <a:cxn ang="0">
                <a:pos x="0" y="730"/>
              </a:cxn>
              <a:cxn ang="0">
                <a:pos x="21" y="730"/>
              </a:cxn>
              <a:cxn ang="0">
                <a:pos x="21" y="735"/>
              </a:cxn>
              <a:cxn ang="0">
                <a:pos x="0" y="735"/>
              </a:cxn>
              <a:cxn ang="0">
                <a:pos x="0" y="730"/>
              </a:cxn>
              <a:cxn ang="0">
                <a:pos x="0" y="487"/>
              </a:cxn>
              <a:cxn ang="0">
                <a:pos x="21" y="487"/>
              </a:cxn>
              <a:cxn ang="0">
                <a:pos x="21" y="492"/>
              </a:cxn>
              <a:cxn ang="0">
                <a:pos x="0" y="492"/>
              </a:cxn>
              <a:cxn ang="0">
                <a:pos x="0" y="487"/>
              </a:cxn>
              <a:cxn ang="0">
                <a:pos x="0" y="243"/>
              </a:cxn>
              <a:cxn ang="0">
                <a:pos x="21" y="243"/>
              </a:cxn>
              <a:cxn ang="0">
                <a:pos x="21" y="249"/>
              </a:cxn>
              <a:cxn ang="0">
                <a:pos x="0" y="249"/>
              </a:cxn>
              <a:cxn ang="0">
                <a:pos x="0" y="243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973"/>
                </a:moveTo>
                <a:lnTo>
                  <a:pt x="21" y="973"/>
                </a:lnTo>
                <a:lnTo>
                  <a:pt x="21" y="978"/>
                </a:lnTo>
                <a:lnTo>
                  <a:pt x="0" y="978"/>
                </a:lnTo>
                <a:lnTo>
                  <a:pt x="0" y="973"/>
                </a:lnTo>
                <a:close/>
                <a:moveTo>
                  <a:pt x="0" y="730"/>
                </a:moveTo>
                <a:lnTo>
                  <a:pt x="21" y="730"/>
                </a:lnTo>
                <a:lnTo>
                  <a:pt x="21" y="735"/>
                </a:lnTo>
                <a:lnTo>
                  <a:pt x="0" y="735"/>
                </a:lnTo>
                <a:lnTo>
                  <a:pt x="0" y="730"/>
                </a:lnTo>
                <a:close/>
                <a:moveTo>
                  <a:pt x="0" y="487"/>
                </a:moveTo>
                <a:lnTo>
                  <a:pt x="21" y="487"/>
                </a:lnTo>
                <a:lnTo>
                  <a:pt x="21" y="492"/>
                </a:lnTo>
                <a:lnTo>
                  <a:pt x="0" y="492"/>
                </a:lnTo>
                <a:lnTo>
                  <a:pt x="0" y="487"/>
                </a:lnTo>
                <a:close/>
                <a:moveTo>
                  <a:pt x="0" y="243"/>
                </a:moveTo>
                <a:lnTo>
                  <a:pt x="21" y="243"/>
                </a:lnTo>
                <a:lnTo>
                  <a:pt x="21" y="249"/>
                </a:lnTo>
                <a:lnTo>
                  <a:pt x="0" y="249"/>
                </a:lnTo>
                <a:lnTo>
                  <a:pt x="0" y="243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31" name="Rectangle 35"/>
          <p:cNvSpPr>
            <a:spLocks noChangeArrowheads="1"/>
          </p:cNvSpPr>
          <p:nvPr/>
        </p:nvSpPr>
        <p:spPr bwMode="auto">
          <a:xfrm>
            <a:off x="5279651" y="4851718"/>
            <a:ext cx="3286125" cy="11831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33" name="Rectangle 37"/>
          <p:cNvSpPr>
            <a:spLocks noChangeArrowheads="1"/>
          </p:cNvSpPr>
          <p:nvPr/>
        </p:nvSpPr>
        <p:spPr bwMode="auto">
          <a:xfrm>
            <a:off x="5097021" y="4766526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34" name="Rectangle 38"/>
          <p:cNvSpPr>
            <a:spLocks noChangeArrowheads="1"/>
          </p:cNvSpPr>
          <p:nvPr/>
        </p:nvSpPr>
        <p:spPr bwMode="auto">
          <a:xfrm>
            <a:off x="4939927" y="4189115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35" name="Rectangle 39"/>
          <p:cNvSpPr>
            <a:spLocks noChangeArrowheads="1"/>
          </p:cNvSpPr>
          <p:nvPr/>
        </p:nvSpPr>
        <p:spPr bwMode="auto">
          <a:xfrm>
            <a:off x="4939927" y="361407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36" name="Rectangle 40"/>
          <p:cNvSpPr>
            <a:spLocks noChangeArrowheads="1"/>
          </p:cNvSpPr>
          <p:nvPr/>
        </p:nvSpPr>
        <p:spPr bwMode="auto">
          <a:xfrm>
            <a:off x="4939927" y="303902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3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37" name="Rectangle 41"/>
          <p:cNvSpPr>
            <a:spLocks noChangeArrowheads="1"/>
          </p:cNvSpPr>
          <p:nvPr/>
        </p:nvSpPr>
        <p:spPr bwMode="auto">
          <a:xfrm>
            <a:off x="4939927" y="2463983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38" name="Rectangle 42"/>
          <p:cNvSpPr>
            <a:spLocks noChangeArrowheads="1"/>
          </p:cNvSpPr>
          <p:nvPr/>
        </p:nvSpPr>
        <p:spPr bwMode="auto">
          <a:xfrm>
            <a:off x="4939927" y="1888938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5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Note: Numbers of papers and citations from each institution within areas of Turkey’s global research competencies.</a:t>
            </a:r>
          </a:p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Source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9" name="グループ化 118"/>
          <p:cNvGrpSpPr/>
          <p:nvPr/>
        </p:nvGrpSpPr>
        <p:grpSpPr>
          <a:xfrm>
            <a:off x="5316518" y="1975494"/>
            <a:ext cx="3312000" cy="2561832"/>
            <a:chOff x="927398" y="1957206"/>
            <a:chExt cx="3312000" cy="2561832"/>
          </a:xfrm>
        </p:grpSpPr>
        <p:cxnSp>
          <p:nvCxnSpPr>
            <p:cNvPr id="120" name="直線コネクタ 119"/>
            <p:cNvCxnSpPr/>
            <p:nvPr/>
          </p:nvCxnSpPr>
          <p:spPr bwMode="auto">
            <a:xfrm>
              <a:off x="927398" y="1957206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" name="直線コネクタ 120"/>
            <p:cNvCxnSpPr/>
            <p:nvPr/>
          </p:nvCxnSpPr>
          <p:spPr bwMode="auto">
            <a:xfrm>
              <a:off x="927398" y="2917647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" name="直線コネクタ 121"/>
            <p:cNvCxnSpPr/>
            <p:nvPr/>
          </p:nvCxnSpPr>
          <p:spPr bwMode="auto">
            <a:xfrm>
              <a:off x="927398" y="2597500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" name="直線コネクタ 122"/>
            <p:cNvCxnSpPr/>
            <p:nvPr/>
          </p:nvCxnSpPr>
          <p:spPr bwMode="auto">
            <a:xfrm>
              <a:off x="927398" y="3557941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直線コネクタ 123"/>
            <p:cNvCxnSpPr/>
            <p:nvPr/>
          </p:nvCxnSpPr>
          <p:spPr bwMode="auto">
            <a:xfrm>
              <a:off x="927398" y="323779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直線コネクタ 124"/>
            <p:cNvCxnSpPr/>
            <p:nvPr/>
          </p:nvCxnSpPr>
          <p:spPr bwMode="auto">
            <a:xfrm>
              <a:off x="927398" y="2277353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直線コネクタ 125"/>
            <p:cNvCxnSpPr/>
            <p:nvPr/>
          </p:nvCxnSpPr>
          <p:spPr bwMode="auto">
            <a:xfrm>
              <a:off x="927398" y="3878088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" name="直線コネクタ 126"/>
            <p:cNvCxnSpPr/>
            <p:nvPr/>
          </p:nvCxnSpPr>
          <p:spPr bwMode="auto">
            <a:xfrm>
              <a:off x="927398" y="451838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8" name="直線コネクタ 127"/>
            <p:cNvCxnSpPr/>
            <p:nvPr/>
          </p:nvCxnSpPr>
          <p:spPr bwMode="auto">
            <a:xfrm>
              <a:off x="927398" y="4198235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9" name="グループ化 108"/>
          <p:cNvGrpSpPr/>
          <p:nvPr/>
        </p:nvGrpSpPr>
        <p:grpSpPr>
          <a:xfrm>
            <a:off x="927398" y="1966350"/>
            <a:ext cx="3312000" cy="2561832"/>
            <a:chOff x="927398" y="1957206"/>
            <a:chExt cx="3312000" cy="2561832"/>
          </a:xfrm>
        </p:grpSpPr>
        <p:cxnSp>
          <p:nvCxnSpPr>
            <p:cNvPr id="110" name="直線コネクタ 109"/>
            <p:cNvCxnSpPr/>
            <p:nvPr/>
          </p:nvCxnSpPr>
          <p:spPr bwMode="auto">
            <a:xfrm>
              <a:off x="927398" y="1957206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1" name="直線コネクタ 110"/>
            <p:cNvCxnSpPr/>
            <p:nvPr/>
          </p:nvCxnSpPr>
          <p:spPr bwMode="auto">
            <a:xfrm>
              <a:off x="927398" y="2917647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2" name="直線コネクタ 111"/>
            <p:cNvCxnSpPr/>
            <p:nvPr/>
          </p:nvCxnSpPr>
          <p:spPr bwMode="auto">
            <a:xfrm>
              <a:off x="927398" y="2597500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" name="直線コネクタ 112"/>
            <p:cNvCxnSpPr/>
            <p:nvPr/>
          </p:nvCxnSpPr>
          <p:spPr bwMode="auto">
            <a:xfrm>
              <a:off x="927398" y="3557941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" name="直線コネクタ 113"/>
            <p:cNvCxnSpPr/>
            <p:nvPr/>
          </p:nvCxnSpPr>
          <p:spPr bwMode="auto">
            <a:xfrm>
              <a:off x="927398" y="323779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" name="直線コネクタ 114"/>
            <p:cNvCxnSpPr/>
            <p:nvPr/>
          </p:nvCxnSpPr>
          <p:spPr bwMode="auto">
            <a:xfrm>
              <a:off x="927398" y="2277353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" name="直線コネクタ 115"/>
            <p:cNvCxnSpPr/>
            <p:nvPr/>
          </p:nvCxnSpPr>
          <p:spPr bwMode="auto">
            <a:xfrm>
              <a:off x="927398" y="3878088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" name="直線コネクタ 116"/>
            <p:cNvCxnSpPr/>
            <p:nvPr/>
          </p:nvCxnSpPr>
          <p:spPr bwMode="auto">
            <a:xfrm>
              <a:off x="927398" y="4518384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直線コネクタ 117"/>
            <p:cNvCxnSpPr/>
            <p:nvPr/>
          </p:nvCxnSpPr>
          <p:spPr bwMode="auto">
            <a:xfrm>
              <a:off x="927398" y="4198235"/>
              <a:ext cx="3312000" cy="65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374650" y="0"/>
            <a:ext cx="8769350" cy="836613"/>
          </a:xfrm>
        </p:spPr>
        <p:txBody>
          <a:bodyPr/>
          <a:lstStyle/>
          <a:p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Collaboration targets? – </a:t>
            </a:r>
            <a:r>
              <a:rPr lang="en-US" altLang="ja-JP" sz="2600" u="sng" dirty="0" smtClean="0">
                <a:latin typeface="Arial" charset="0"/>
                <a:ea typeface="ＭＳ Ｐゴシック" charset="-128"/>
                <a:cs typeface="Arial" charset="0"/>
              </a:rPr>
              <a:t>Iranian</a:t>
            </a:r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 Institutions actively conducting research in Turkey’s strength areas</a:t>
            </a:r>
            <a:endParaRPr kumimoji="1" lang="ja-JP" altLang="en-US" sz="2600" dirty="0" smtClean="0">
              <a:ea typeface="ＭＳ Ｐゴシック" charset="-128"/>
              <a:cs typeface="Arial" charset="0"/>
            </a:endParaRPr>
          </a:p>
        </p:txBody>
      </p:sp>
      <p:sp>
        <p:nvSpPr>
          <p:cNvPr id="21508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CF20DD8D-818B-45A0-B8ED-A23407BAADB4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5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50862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# of Paper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3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06163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Total Citations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1033" name="Freeform 9"/>
          <p:cNvSpPr>
            <a:spLocks noEditPoints="1"/>
          </p:cNvSpPr>
          <p:nvPr/>
        </p:nvSpPr>
        <p:spPr bwMode="auto">
          <a:xfrm>
            <a:off x="1206533" y="2352795"/>
            <a:ext cx="2869149" cy="250594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0"/>
              </a:cxn>
              <a:cxn ang="0">
                <a:pos x="232" y="1134"/>
              </a:cxn>
              <a:cxn ang="0">
                <a:pos x="0" y="1134"/>
              </a:cxn>
              <a:cxn ang="0">
                <a:pos x="0" y="0"/>
              </a:cxn>
              <a:cxn ang="0">
                <a:pos x="589" y="153"/>
              </a:cxn>
              <a:cxn ang="0">
                <a:pos x="827" y="153"/>
              </a:cxn>
              <a:cxn ang="0">
                <a:pos x="827" y="1134"/>
              </a:cxn>
              <a:cxn ang="0">
                <a:pos x="589" y="1134"/>
              </a:cxn>
              <a:cxn ang="0">
                <a:pos x="589" y="153"/>
              </a:cxn>
              <a:cxn ang="0">
                <a:pos x="1185" y="589"/>
              </a:cxn>
              <a:cxn ang="0">
                <a:pos x="1417" y="589"/>
              </a:cxn>
              <a:cxn ang="0">
                <a:pos x="1417" y="1134"/>
              </a:cxn>
              <a:cxn ang="0">
                <a:pos x="1185" y="1134"/>
              </a:cxn>
              <a:cxn ang="0">
                <a:pos x="1185" y="589"/>
              </a:cxn>
              <a:cxn ang="0">
                <a:pos x="1774" y="691"/>
              </a:cxn>
              <a:cxn ang="0">
                <a:pos x="2013" y="691"/>
              </a:cxn>
              <a:cxn ang="0">
                <a:pos x="2013" y="1134"/>
              </a:cxn>
              <a:cxn ang="0">
                <a:pos x="1774" y="1134"/>
              </a:cxn>
              <a:cxn ang="0">
                <a:pos x="1774" y="691"/>
              </a:cxn>
            </a:cxnLst>
            <a:rect l="0" t="0" r="r" b="b"/>
            <a:pathLst>
              <a:path w="2013" h="1134">
                <a:moveTo>
                  <a:pt x="0" y="0"/>
                </a:moveTo>
                <a:lnTo>
                  <a:pt x="232" y="0"/>
                </a:lnTo>
                <a:lnTo>
                  <a:pt x="232" y="1134"/>
                </a:lnTo>
                <a:lnTo>
                  <a:pt x="0" y="1134"/>
                </a:lnTo>
                <a:lnTo>
                  <a:pt x="0" y="0"/>
                </a:lnTo>
                <a:close/>
                <a:moveTo>
                  <a:pt x="589" y="153"/>
                </a:moveTo>
                <a:lnTo>
                  <a:pt x="827" y="153"/>
                </a:lnTo>
                <a:lnTo>
                  <a:pt x="827" y="1134"/>
                </a:lnTo>
                <a:lnTo>
                  <a:pt x="589" y="1134"/>
                </a:lnTo>
                <a:lnTo>
                  <a:pt x="589" y="153"/>
                </a:lnTo>
                <a:close/>
                <a:moveTo>
                  <a:pt x="1185" y="589"/>
                </a:moveTo>
                <a:lnTo>
                  <a:pt x="1417" y="589"/>
                </a:lnTo>
                <a:lnTo>
                  <a:pt x="1417" y="1134"/>
                </a:lnTo>
                <a:lnTo>
                  <a:pt x="1185" y="1134"/>
                </a:lnTo>
                <a:lnTo>
                  <a:pt x="1185" y="589"/>
                </a:lnTo>
                <a:close/>
                <a:moveTo>
                  <a:pt x="1774" y="691"/>
                </a:moveTo>
                <a:lnTo>
                  <a:pt x="2013" y="691"/>
                </a:lnTo>
                <a:lnTo>
                  <a:pt x="2013" y="1134"/>
                </a:lnTo>
                <a:lnTo>
                  <a:pt x="1774" y="1134"/>
                </a:lnTo>
                <a:lnTo>
                  <a:pt x="1774" y="691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947126" y="1963866"/>
            <a:ext cx="8552" cy="2881613"/>
          </a:xfrm>
          <a:prstGeom prst="rect">
            <a:avLst/>
          </a:prstGeom>
          <a:solidFill>
            <a:srgbClr val="868686"/>
          </a:solidFill>
          <a:ln w="9525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35" name="Freeform 11"/>
          <p:cNvSpPr>
            <a:spLocks noEditPoints="1"/>
          </p:cNvSpPr>
          <p:nvPr/>
        </p:nvSpPr>
        <p:spPr bwMode="auto">
          <a:xfrm>
            <a:off x="914344" y="1963866"/>
            <a:ext cx="32782" cy="2894872"/>
          </a:xfrm>
          <a:custGeom>
            <a:avLst/>
            <a:gdLst/>
            <a:ahLst/>
            <a:cxnLst>
              <a:cxn ang="0">
                <a:pos x="0" y="1304"/>
              </a:cxn>
              <a:cxn ang="0">
                <a:pos x="23" y="1304"/>
              </a:cxn>
              <a:cxn ang="0">
                <a:pos x="23" y="1310"/>
              </a:cxn>
              <a:cxn ang="0">
                <a:pos x="0" y="1310"/>
              </a:cxn>
              <a:cxn ang="0">
                <a:pos x="0" y="1304"/>
              </a:cxn>
              <a:cxn ang="0">
                <a:pos x="0" y="1162"/>
              </a:cxn>
              <a:cxn ang="0">
                <a:pos x="23" y="1162"/>
              </a:cxn>
              <a:cxn ang="0">
                <a:pos x="23" y="1168"/>
              </a:cxn>
              <a:cxn ang="0">
                <a:pos x="0" y="1168"/>
              </a:cxn>
              <a:cxn ang="0">
                <a:pos x="0" y="1162"/>
              </a:cxn>
              <a:cxn ang="0">
                <a:pos x="0" y="1015"/>
              </a:cxn>
              <a:cxn ang="0">
                <a:pos x="23" y="1015"/>
              </a:cxn>
              <a:cxn ang="0">
                <a:pos x="23" y="1020"/>
              </a:cxn>
              <a:cxn ang="0">
                <a:pos x="0" y="1020"/>
              </a:cxn>
              <a:cxn ang="0">
                <a:pos x="0" y="1015"/>
              </a:cxn>
              <a:cxn ang="0">
                <a:pos x="0" y="873"/>
              </a:cxn>
              <a:cxn ang="0">
                <a:pos x="23" y="873"/>
              </a:cxn>
              <a:cxn ang="0">
                <a:pos x="23" y="879"/>
              </a:cxn>
              <a:cxn ang="0">
                <a:pos x="0" y="879"/>
              </a:cxn>
              <a:cxn ang="0">
                <a:pos x="0" y="873"/>
              </a:cxn>
              <a:cxn ang="0">
                <a:pos x="0" y="726"/>
              </a:cxn>
              <a:cxn ang="0">
                <a:pos x="23" y="726"/>
              </a:cxn>
              <a:cxn ang="0">
                <a:pos x="23" y="731"/>
              </a:cxn>
              <a:cxn ang="0">
                <a:pos x="0" y="731"/>
              </a:cxn>
              <a:cxn ang="0">
                <a:pos x="0" y="726"/>
              </a:cxn>
              <a:cxn ang="0">
                <a:pos x="0" y="578"/>
              </a:cxn>
              <a:cxn ang="0">
                <a:pos x="23" y="578"/>
              </a:cxn>
              <a:cxn ang="0">
                <a:pos x="23" y="584"/>
              </a:cxn>
              <a:cxn ang="0">
                <a:pos x="0" y="584"/>
              </a:cxn>
              <a:cxn ang="0">
                <a:pos x="0" y="578"/>
              </a:cxn>
              <a:cxn ang="0">
                <a:pos x="0" y="437"/>
              </a:cxn>
              <a:cxn ang="0">
                <a:pos x="23" y="437"/>
              </a:cxn>
              <a:cxn ang="0">
                <a:pos x="23" y="442"/>
              </a:cxn>
              <a:cxn ang="0">
                <a:pos x="0" y="442"/>
              </a:cxn>
              <a:cxn ang="0">
                <a:pos x="0" y="437"/>
              </a:cxn>
              <a:cxn ang="0">
                <a:pos x="0" y="289"/>
              </a:cxn>
              <a:cxn ang="0">
                <a:pos x="23" y="289"/>
              </a:cxn>
              <a:cxn ang="0">
                <a:pos x="23" y="295"/>
              </a:cxn>
              <a:cxn ang="0">
                <a:pos x="0" y="295"/>
              </a:cxn>
              <a:cxn ang="0">
                <a:pos x="0" y="289"/>
              </a:cxn>
              <a:cxn ang="0">
                <a:pos x="0" y="147"/>
              </a:cxn>
              <a:cxn ang="0">
                <a:pos x="23" y="147"/>
              </a:cxn>
              <a:cxn ang="0">
                <a:pos x="23" y="153"/>
              </a:cxn>
              <a:cxn ang="0">
                <a:pos x="0" y="153"/>
              </a:cxn>
              <a:cxn ang="0">
                <a:pos x="0" y="147"/>
              </a:cxn>
              <a:cxn ang="0">
                <a:pos x="0" y="0"/>
              </a:cxn>
              <a:cxn ang="0">
                <a:pos x="23" y="0"/>
              </a:cxn>
              <a:cxn ang="0">
                <a:pos x="23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3" h="1310">
                <a:moveTo>
                  <a:pt x="0" y="1304"/>
                </a:moveTo>
                <a:lnTo>
                  <a:pt x="23" y="1304"/>
                </a:lnTo>
                <a:lnTo>
                  <a:pt x="23" y="1310"/>
                </a:lnTo>
                <a:lnTo>
                  <a:pt x="0" y="1310"/>
                </a:lnTo>
                <a:lnTo>
                  <a:pt x="0" y="1304"/>
                </a:lnTo>
                <a:close/>
                <a:moveTo>
                  <a:pt x="0" y="1162"/>
                </a:moveTo>
                <a:lnTo>
                  <a:pt x="23" y="1162"/>
                </a:lnTo>
                <a:lnTo>
                  <a:pt x="23" y="1168"/>
                </a:lnTo>
                <a:lnTo>
                  <a:pt x="0" y="1168"/>
                </a:lnTo>
                <a:lnTo>
                  <a:pt x="0" y="1162"/>
                </a:lnTo>
                <a:close/>
                <a:moveTo>
                  <a:pt x="0" y="1015"/>
                </a:moveTo>
                <a:lnTo>
                  <a:pt x="23" y="1015"/>
                </a:lnTo>
                <a:lnTo>
                  <a:pt x="23" y="1020"/>
                </a:lnTo>
                <a:lnTo>
                  <a:pt x="0" y="1020"/>
                </a:lnTo>
                <a:lnTo>
                  <a:pt x="0" y="1015"/>
                </a:lnTo>
                <a:close/>
                <a:moveTo>
                  <a:pt x="0" y="873"/>
                </a:moveTo>
                <a:lnTo>
                  <a:pt x="23" y="873"/>
                </a:lnTo>
                <a:lnTo>
                  <a:pt x="23" y="879"/>
                </a:lnTo>
                <a:lnTo>
                  <a:pt x="0" y="879"/>
                </a:lnTo>
                <a:lnTo>
                  <a:pt x="0" y="873"/>
                </a:lnTo>
                <a:close/>
                <a:moveTo>
                  <a:pt x="0" y="726"/>
                </a:moveTo>
                <a:lnTo>
                  <a:pt x="23" y="726"/>
                </a:lnTo>
                <a:lnTo>
                  <a:pt x="23" y="731"/>
                </a:lnTo>
                <a:lnTo>
                  <a:pt x="0" y="731"/>
                </a:lnTo>
                <a:lnTo>
                  <a:pt x="0" y="726"/>
                </a:lnTo>
                <a:close/>
                <a:moveTo>
                  <a:pt x="0" y="578"/>
                </a:moveTo>
                <a:lnTo>
                  <a:pt x="23" y="578"/>
                </a:lnTo>
                <a:lnTo>
                  <a:pt x="23" y="584"/>
                </a:lnTo>
                <a:lnTo>
                  <a:pt x="0" y="584"/>
                </a:lnTo>
                <a:lnTo>
                  <a:pt x="0" y="578"/>
                </a:lnTo>
                <a:close/>
                <a:moveTo>
                  <a:pt x="0" y="437"/>
                </a:moveTo>
                <a:lnTo>
                  <a:pt x="23" y="437"/>
                </a:lnTo>
                <a:lnTo>
                  <a:pt x="23" y="442"/>
                </a:lnTo>
                <a:lnTo>
                  <a:pt x="0" y="442"/>
                </a:lnTo>
                <a:lnTo>
                  <a:pt x="0" y="437"/>
                </a:lnTo>
                <a:close/>
                <a:moveTo>
                  <a:pt x="0" y="289"/>
                </a:moveTo>
                <a:lnTo>
                  <a:pt x="23" y="289"/>
                </a:lnTo>
                <a:lnTo>
                  <a:pt x="23" y="295"/>
                </a:lnTo>
                <a:lnTo>
                  <a:pt x="0" y="295"/>
                </a:lnTo>
                <a:lnTo>
                  <a:pt x="0" y="289"/>
                </a:lnTo>
                <a:close/>
                <a:moveTo>
                  <a:pt x="0" y="147"/>
                </a:moveTo>
                <a:lnTo>
                  <a:pt x="23" y="147"/>
                </a:lnTo>
                <a:lnTo>
                  <a:pt x="23" y="153"/>
                </a:lnTo>
                <a:lnTo>
                  <a:pt x="0" y="153"/>
                </a:lnTo>
                <a:lnTo>
                  <a:pt x="0" y="147"/>
                </a:lnTo>
                <a:close/>
                <a:moveTo>
                  <a:pt x="0" y="0"/>
                </a:moveTo>
                <a:lnTo>
                  <a:pt x="23" y="0"/>
                </a:lnTo>
                <a:lnTo>
                  <a:pt x="23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9525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947126" y="4845479"/>
            <a:ext cx="3377986" cy="13259"/>
          </a:xfrm>
          <a:prstGeom prst="rect">
            <a:avLst/>
          </a:prstGeom>
          <a:solidFill>
            <a:srgbClr val="868686"/>
          </a:solidFill>
          <a:ln w="9525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746247" y="4766230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667701" y="4441385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667701" y="4127590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1" name="Rectangle 17"/>
          <p:cNvSpPr>
            <a:spLocks noChangeArrowheads="1"/>
          </p:cNvSpPr>
          <p:nvPr/>
        </p:nvSpPr>
        <p:spPr bwMode="auto">
          <a:xfrm>
            <a:off x="667701" y="3802746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2" name="Rectangle 18"/>
          <p:cNvSpPr>
            <a:spLocks noChangeArrowheads="1"/>
          </p:cNvSpPr>
          <p:nvPr/>
        </p:nvSpPr>
        <p:spPr bwMode="auto">
          <a:xfrm>
            <a:off x="667701" y="3488951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8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589153" y="3164106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589153" y="2850310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2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5" name="Rectangle 21"/>
          <p:cNvSpPr>
            <a:spLocks noChangeArrowheads="1"/>
          </p:cNvSpPr>
          <p:nvPr/>
        </p:nvSpPr>
        <p:spPr bwMode="auto">
          <a:xfrm>
            <a:off x="589153" y="2523256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4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589153" y="219841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6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47" name="Rectangle 23"/>
          <p:cNvSpPr>
            <a:spLocks noChangeArrowheads="1"/>
          </p:cNvSpPr>
          <p:nvPr/>
        </p:nvSpPr>
        <p:spPr bwMode="auto">
          <a:xfrm>
            <a:off x="589153" y="188461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8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4" name="Rectangle 23"/>
          <p:cNvSpPr>
            <a:spLocks noChangeArrowheads="1"/>
          </p:cNvSpPr>
          <p:nvPr/>
        </p:nvSpPr>
        <p:spPr bwMode="auto">
          <a:xfrm rot="3136105">
            <a:off x="1123479" y="5421828"/>
            <a:ext cx="124707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 of Tehra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5" name="Rectangle 23"/>
          <p:cNvSpPr>
            <a:spLocks noChangeArrowheads="1"/>
          </p:cNvSpPr>
          <p:nvPr/>
        </p:nvSpPr>
        <p:spPr bwMode="auto">
          <a:xfrm rot="3136105">
            <a:off x="1912036" y="5508596"/>
            <a:ext cx="14664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Islamic Azad University 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6" name="Rectangle 23"/>
          <p:cNvSpPr>
            <a:spLocks noChangeArrowheads="1"/>
          </p:cNvSpPr>
          <p:nvPr/>
        </p:nvSpPr>
        <p:spPr bwMode="auto">
          <a:xfrm rot="3136105">
            <a:off x="2838585" y="5409986"/>
            <a:ext cx="13077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Amirkabir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University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of Technolog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7" name="Rectangle 23"/>
          <p:cNvSpPr>
            <a:spLocks noChangeArrowheads="1"/>
          </p:cNvSpPr>
          <p:nvPr/>
        </p:nvSpPr>
        <p:spPr bwMode="auto">
          <a:xfrm rot="3136105">
            <a:off x="3668901" y="5496577"/>
            <a:ext cx="143609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Mazandaran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60" name="Freeform 36"/>
          <p:cNvSpPr>
            <a:spLocks noEditPoints="1"/>
          </p:cNvSpPr>
          <p:nvPr/>
        </p:nvSpPr>
        <p:spPr bwMode="auto">
          <a:xfrm>
            <a:off x="5531676" y="2360175"/>
            <a:ext cx="2827057" cy="249901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0"/>
              </a:cxn>
              <a:cxn ang="0">
                <a:pos x="232" y="1134"/>
              </a:cxn>
              <a:cxn ang="0">
                <a:pos x="0" y="1134"/>
              </a:cxn>
              <a:cxn ang="0">
                <a:pos x="0" y="0"/>
              </a:cxn>
              <a:cxn ang="0">
                <a:pos x="589" y="317"/>
              </a:cxn>
              <a:cxn ang="0">
                <a:pos x="827" y="317"/>
              </a:cxn>
              <a:cxn ang="0">
                <a:pos x="827" y="1134"/>
              </a:cxn>
              <a:cxn ang="0">
                <a:pos x="589" y="1134"/>
              </a:cxn>
              <a:cxn ang="0">
                <a:pos x="589" y="317"/>
              </a:cxn>
              <a:cxn ang="0">
                <a:pos x="1185" y="442"/>
              </a:cxn>
              <a:cxn ang="0">
                <a:pos x="1417" y="442"/>
              </a:cxn>
              <a:cxn ang="0">
                <a:pos x="1417" y="1134"/>
              </a:cxn>
              <a:cxn ang="0">
                <a:pos x="1185" y="1134"/>
              </a:cxn>
              <a:cxn ang="0">
                <a:pos x="1185" y="442"/>
              </a:cxn>
              <a:cxn ang="0">
                <a:pos x="1774" y="544"/>
              </a:cxn>
              <a:cxn ang="0">
                <a:pos x="2013" y="544"/>
              </a:cxn>
              <a:cxn ang="0">
                <a:pos x="2013" y="1134"/>
              </a:cxn>
              <a:cxn ang="0">
                <a:pos x="1774" y="1134"/>
              </a:cxn>
              <a:cxn ang="0">
                <a:pos x="1774" y="544"/>
              </a:cxn>
            </a:cxnLst>
            <a:rect l="0" t="0" r="r" b="b"/>
            <a:pathLst>
              <a:path w="2013" h="1134">
                <a:moveTo>
                  <a:pt x="0" y="0"/>
                </a:moveTo>
                <a:lnTo>
                  <a:pt x="232" y="0"/>
                </a:lnTo>
                <a:lnTo>
                  <a:pt x="232" y="1134"/>
                </a:lnTo>
                <a:lnTo>
                  <a:pt x="0" y="1134"/>
                </a:lnTo>
                <a:lnTo>
                  <a:pt x="0" y="0"/>
                </a:lnTo>
                <a:close/>
                <a:moveTo>
                  <a:pt x="589" y="317"/>
                </a:moveTo>
                <a:lnTo>
                  <a:pt x="827" y="317"/>
                </a:lnTo>
                <a:lnTo>
                  <a:pt x="827" y="1134"/>
                </a:lnTo>
                <a:lnTo>
                  <a:pt x="589" y="1134"/>
                </a:lnTo>
                <a:lnTo>
                  <a:pt x="589" y="317"/>
                </a:lnTo>
                <a:close/>
                <a:moveTo>
                  <a:pt x="1185" y="442"/>
                </a:moveTo>
                <a:lnTo>
                  <a:pt x="1417" y="442"/>
                </a:lnTo>
                <a:lnTo>
                  <a:pt x="1417" y="1134"/>
                </a:lnTo>
                <a:lnTo>
                  <a:pt x="1185" y="1134"/>
                </a:lnTo>
                <a:lnTo>
                  <a:pt x="1185" y="442"/>
                </a:lnTo>
                <a:close/>
                <a:moveTo>
                  <a:pt x="1774" y="544"/>
                </a:moveTo>
                <a:lnTo>
                  <a:pt x="2013" y="544"/>
                </a:lnTo>
                <a:lnTo>
                  <a:pt x="2013" y="1134"/>
                </a:lnTo>
                <a:lnTo>
                  <a:pt x="1774" y="1134"/>
                </a:lnTo>
                <a:lnTo>
                  <a:pt x="1774" y="544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61" name="Rectangle 37"/>
          <p:cNvSpPr>
            <a:spLocks noChangeArrowheads="1"/>
          </p:cNvSpPr>
          <p:nvPr/>
        </p:nvSpPr>
        <p:spPr bwMode="auto">
          <a:xfrm>
            <a:off x="5276075" y="1972321"/>
            <a:ext cx="8426" cy="2873641"/>
          </a:xfrm>
          <a:prstGeom prst="rect">
            <a:avLst/>
          </a:prstGeom>
          <a:solidFill>
            <a:srgbClr val="868686"/>
          </a:solidFill>
          <a:ln w="9525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62" name="Freeform 38"/>
          <p:cNvSpPr>
            <a:spLocks noEditPoints="1"/>
          </p:cNvSpPr>
          <p:nvPr/>
        </p:nvSpPr>
        <p:spPr bwMode="auto">
          <a:xfrm>
            <a:off x="5243774" y="1972321"/>
            <a:ext cx="32301" cy="2886863"/>
          </a:xfrm>
          <a:custGeom>
            <a:avLst/>
            <a:gdLst/>
            <a:ahLst/>
            <a:cxnLst>
              <a:cxn ang="0">
                <a:pos x="0" y="1304"/>
              </a:cxn>
              <a:cxn ang="0">
                <a:pos x="23" y="1304"/>
              </a:cxn>
              <a:cxn ang="0">
                <a:pos x="23" y="1310"/>
              </a:cxn>
              <a:cxn ang="0">
                <a:pos x="0" y="1310"/>
              </a:cxn>
              <a:cxn ang="0">
                <a:pos x="0" y="1304"/>
              </a:cxn>
              <a:cxn ang="0">
                <a:pos x="0" y="1162"/>
              </a:cxn>
              <a:cxn ang="0">
                <a:pos x="23" y="1162"/>
              </a:cxn>
              <a:cxn ang="0">
                <a:pos x="23" y="1168"/>
              </a:cxn>
              <a:cxn ang="0">
                <a:pos x="0" y="1168"/>
              </a:cxn>
              <a:cxn ang="0">
                <a:pos x="0" y="1162"/>
              </a:cxn>
              <a:cxn ang="0">
                <a:pos x="0" y="1015"/>
              </a:cxn>
              <a:cxn ang="0">
                <a:pos x="23" y="1015"/>
              </a:cxn>
              <a:cxn ang="0">
                <a:pos x="23" y="1020"/>
              </a:cxn>
              <a:cxn ang="0">
                <a:pos x="0" y="1020"/>
              </a:cxn>
              <a:cxn ang="0">
                <a:pos x="0" y="1015"/>
              </a:cxn>
              <a:cxn ang="0">
                <a:pos x="0" y="873"/>
              </a:cxn>
              <a:cxn ang="0">
                <a:pos x="23" y="873"/>
              </a:cxn>
              <a:cxn ang="0">
                <a:pos x="23" y="879"/>
              </a:cxn>
              <a:cxn ang="0">
                <a:pos x="0" y="879"/>
              </a:cxn>
              <a:cxn ang="0">
                <a:pos x="0" y="873"/>
              </a:cxn>
              <a:cxn ang="0">
                <a:pos x="0" y="726"/>
              </a:cxn>
              <a:cxn ang="0">
                <a:pos x="23" y="726"/>
              </a:cxn>
              <a:cxn ang="0">
                <a:pos x="23" y="731"/>
              </a:cxn>
              <a:cxn ang="0">
                <a:pos x="0" y="731"/>
              </a:cxn>
              <a:cxn ang="0">
                <a:pos x="0" y="726"/>
              </a:cxn>
              <a:cxn ang="0">
                <a:pos x="0" y="578"/>
              </a:cxn>
              <a:cxn ang="0">
                <a:pos x="23" y="578"/>
              </a:cxn>
              <a:cxn ang="0">
                <a:pos x="23" y="584"/>
              </a:cxn>
              <a:cxn ang="0">
                <a:pos x="0" y="584"/>
              </a:cxn>
              <a:cxn ang="0">
                <a:pos x="0" y="578"/>
              </a:cxn>
              <a:cxn ang="0">
                <a:pos x="0" y="437"/>
              </a:cxn>
              <a:cxn ang="0">
                <a:pos x="23" y="437"/>
              </a:cxn>
              <a:cxn ang="0">
                <a:pos x="23" y="442"/>
              </a:cxn>
              <a:cxn ang="0">
                <a:pos x="0" y="442"/>
              </a:cxn>
              <a:cxn ang="0">
                <a:pos x="0" y="437"/>
              </a:cxn>
              <a:cxn ang="0">
                <a:pos x="0" y="289"/>
              </a:cxn>
              <a:cxn ang="0">
                <a:pos x="23" y="289"/>
              </a:cxn>
              <a:cxn ang="0">
                <a:pos x="23" y="295"/>
              </a:cxn>
              <a:cxn ang="0">
                <a:pos x="0" y="295"/>
              </a:cxn>
              <a:cxn ang="0">
                <a:pos x="0" y="289"/>
              </a:cxn>
              <a:cxn ang="0">
                <a:pos x="0" y="147"/>
              </a:cxn>
              <a:cxn ang="0">
                <a:pos x="23" y="147"/>
              </a:cxn>
              <a:cxn ang="0">
                <a:pos x="23" y="153"/>
              </a:cxn>
              <a:cxn ang="0">
                <a:pos x="0" y="153"/>
              </a:cxn>
              <a:cxn ang="0">
                <a:pos x="0" y="147"/>
              </a:cxn>
              <a:cxn ang="0">
                <a:pos x="0" y="0"/>
              </a:cxn>
              <a:cxn ang="0">
                <a:pos x="23" y="0"/>
              </a:cxn>
              <a:cxn ang="0">
                <a:pos x="23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3" h="1310">
                <a:moveTo>
                  <a:pt x="0" y="1304"/>
                </a:moveTo>
                <a:lnTo>
                  <a:pt x="23" y="1304"/>
                </a:lnTo>
                <a:lnTo>
                  <a:pt x="23" y="1310"/>
                </a:lnTo>
                <a:lnTo>
                  <a:pt x="0" y="1310"/>
                </a:lnTo>
                <a:lnTo>
                  <a:pt x="0" y="1304"/>
                </a:lnTo>
                <a:close/>
                <a:moveTo>
                  <a:pt x="0" y="1162"/>
                </a:moveTo>
                <a:lnTo>
                  <a:pt x="23" y="1162"/>
                </a:lnTo>
                <a:lnTo>
                  <a:pt x="23" y="1168"/>
                </a:lnTo>
                <a:lnTo>
                  <a:pt x="0" y="1168"/>
                </a:lnTo>
                <a:lnTo>
                  <a:pt x="0" y="1162"/>
                </a:lnTo>
                <a:close/>
                <a:moveTo>
                  <a:pt x="0" y="1015"/>
                </a:moveTo>
                <a:lnTo>
                  <a:pt x="23" y="1015"/>
                </a:lnTo>
                <a:lnTo>
                  <a:pt x="23" y="1020"/>
                </a:lnTo>
                <a:lnTo>
                  <a:pt x="0" y="1020"/>
                </a:lnTo>
                <a:lnTo>
                  <a:pt x="0" y="1015"/>
                </a:lnTo>
                <a:close/>
                <a:moveTo>
                  <a:pt x="0" y="873"/>
                </a:moveTo>
                <a:lnTo>
                  <a:pt x="23" y="873"/>
                </a:lnTo>
                <a:lnTo>
                  <a:pt x="23" y="879"/>
                </a:lnTo>
                <a:lnTo>
                  <a:pt x="0" y="879"/>
                </a:lnTo>
                <a:lnTo>
                  <a:pt x="0" y="873"/>
                </a:lnTo>
                <a:close/>
                <a:moveTo>
                  <a:pt x="0" y="726"/>
                </a:moveTo>
                <a:lnTo>
                  <a:pt x="23" y="726"/>
                </a:lnTo>
                <a:lnTo>
                  <a:pt x="23" y="731"/>
                </a:lnTo>
                <a:lnTo>
                  <a:pt x="0" y="731"/>
                </a:lnTo>
                <a:lnTo>
                  <a:pt x="0" y="726"/>
                </a:lnTo>
                <a:close/>
                <a:moveTo>
                  <a:pt x="0" y="578"/>
                </a:moveTo>
                <a:lnTo>
                  <a:pt x="23" y="578"/>
                </a:lnTo>
                <a:lnTo>
                  <a:pt x="23" y="584"/>
                </a:lnTo>
                <a:lnTo>
                  <a:pt x="0" y="584"/>
                </a:lnTo>
                <a:lnTo>
                  <a:pt x="0" y="578"/>
                </a:lnTo>
                <a:close/>
                <a:moveTo>
                  <a:pt x="0" y="437"/>
                </a:moveTo>
                <a:lnTo>
                  <a:pt x="23" y="437"/>
                </a:lnTo>
                <a:lnTo>
                  <a:pt x="23" y="442"/>
                </a:lnTo>
                <a:lnTo>
                  <a:pt x="0" y="442"/>
                </a:lnTo>
                <a:lnTo>
                  <a:pt x="0" y="437"/>
                </a:lnTo>
                <a:close/>
                <a:moveTo>
                  <a:pt x="0" y="289"/>
                </a:moveTo>
                <a:lnTo>
                  <a:pt x="23" y="289"/>
                </a:lnTo>
                <a:lnTo>
                  <a:pt x="23" y="295"/>
                </a:lnTo>
                <a:lnTo>
                  <a:pt x="0" y="295"/>
                </a:lnTo>
                <a:lnTo>
                  <a:pt x="0" y="289"/>
                </a:lnTo>
                <a:close/>
                <a:moveTo>
                  <a:pt x="0" y="147"/>
                </a:moveTo>
                <a:lnTo>
                  <a:pt x="23" y="147"/>
                </a:lnTo>
                <a:lnTo>
                  <a:pt x="23" y="153"/>
                </a:lnTo>
                <a:lnTo>
                  <a:pt x="0" y="153"/>
                </a:lnTo>
                <a:lnTo>
                  <a:pt x="0" y="147"/>
                </a:lnTo>
                <a:close/>
                <a:moveTo>
                  <a:pt x="0" y="0"/>
                </a:moveTo>
                <a:lnTo>
                  <a:pt x="23" y="0"/>
                </a:lnTo>
                <a:lnTo>
                  <a:pt x="23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9525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63" name="Rectangle 39"/>
          <p:cNvSpPr>
            <a:spLocks noChangeArrowheads="1"/>
          </p:cNvSpPr>
          <p:nvPr/>
        </p:nvSpPr>
        <p:spPr bwMode="auto">
          <a:xfrm>
            <a:off x="5276075" y="4845962"/>
            <a:ext cx="3328429" cy="13222"/>
          </a:xfrm>
          <a:prstGeom prst="rect">
            <a:avLst/>
          </a:prstGeom>
          <a:solidFill>
            <a:srgbClr val="868686"/>
          </a:solidFill>
          <a:ln w="9525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065" name="Rectangle 41"/>
          <p:cNvSpPr>
            <a:spLocks noChangeArrowheads="1"/>
          </p:cNvSpPr>
          <p:nvPr/>
        </p:nvSpPr>
        <p:spPr bwMode="auto">
          <a:xfrm>
            <a:off x="5097394" y="4766958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66" name="Rectangle 42"/>
          <p:cNvSpPr>
            <a:spLocks noChangeArrowheads="1"/>
          </p:cNvSpPr>
          <p:nvPr/>
        </p:nvSpPr>
        <p:spPr bwMode="auto">
          <a:xfrm>
            <a:off x="5018848" y="4443011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67" name="Rectangle 43"/>
          <p:cNvSpPr>
            <a:spLocks noChangeArrowheads="1"/>
          </p:cNvSpPr>
          <p:nvPr/>
        </p:nvSpPr>
        <p:spPr bwMode="auto">
          <a:xfrm>
            <a:off x="4940300" y="4130084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68" name="Rectangle 44"/>
          <p:cNvSpPr>
            <a:spLocks noChangeArrowheads="1"/>
          </p:cNvSpPr>
          <p:nvPr/>
        </p:nvSpPr>
        <p:spPr bwMode="auto">
          <a:xfrm>
            <a:off x="4940300" y="3806139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69" name="Rectangle 45"/>
          <p:cNvSpPr>
            <a:spLocks noChangeArrowheads="1"/>
          </p:cNvSpPr>
          <p:nvPr/>
        </p:nvSpPr>
        <p:spPr bwMode="auto">
          <a:xfrm>
            <a:off x="4940300" y="349321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70" name="Rectangle 46"/>
          <p:cNvSpPr>
            <a:spLocks noChangeArrowheads="1"/>
          </p:cNvSpPr>
          <p:nvPr/>
        </p:nvSpPr>
        <p:spPr bwMode="auto">
          <a:xfrm>
            <a:off x="4940300" y="3169266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71" name="Rectangle 47"/>
          <p:cNvSpPr>
            <a:spLocks noChangeArrowheads="1"/>
          </p:cNvSpPr>
          <p:nvPr/>
        </p:nvSpPr>
        <p:spPr bwMode="auto">
          <a:xfrm>
            <a:off x="4940300" y="2856338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3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72" name="Rectangle 48"/>
          <p:cNvSpPr>
            <a:spLocks noChangeArrowheads="1"/>
          </p:cNvSpPr>
          <p:nvPr/>
        </p:nvSpPr>
        <p:spPr bwMode="auto">
          <a:xfrm>
            <a:off x="4940300" y="2530189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3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73" name="Rectangle 49"/>
          <p:cNvSpPr>
            <a:spLocks noChangeArrowheads="1"/>
          </p:cNvSpPr>
          <p:nvPr/>
        </p:nvSpPr>
        <p:spPr bwMode="auto">
          <a:xfrm>
            <a:off x="4940300" y="2206244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74" name="Rectangle 50"/>
          <p:cNvSpPr>
            <a:spLocks noChangeArrowheads="1"/>
          </p:cNvSpPr>
          <p:nvPr/>
        </p:nvSpPr>
        <p:spPr bwMode="auto">
          <a:xfrm>
            <a:off x="4940300" y="189331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5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5" name="Rectangle 23"/>
          <p:cNvSpPr>
            <a:spLocks noChangeArrowheads="1"/>
          </p:cNvSpPr>
          <p:nvPr/>
        </p:nvSpPr>
        <p:spPr bwMode="auto">
          <a:xfrm rot="3136105">
            <a:off x="5420052" y="5409986"/>
            <a:ext cx="13077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Amirkabir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University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of Technolog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6" name="Rectangle 23"/>
          <p:cNvSpPr>
            <a:spLocks noChangeArrowheads="1"/>
          </p:cNvSpPr>
          <p:nvPr/>
        </p:nvSpPr>
        <p:spPr bwMode="auto">
          <a:xfrm rot="3136105">
            <a:off x="6238937" y="5508596"/>
            <a:ext cx="14664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err="1" smtClean="0">
                <a:solidFill>
                  <a:srgbClr val="000000"/>
                </a:solidFill>
                <a:latin typeface="+mn-lt"/>
              </a:rPr>
              <a:t>Mazandaran</a:t>
            </a: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7" name="Rectangle 23"/>
          <p:cNvSpPr>
            <a:spLocks noChangeArrowheads="1"/>
          </p:cNvSpPr>
          <p:nvPr/>
        </p:nvSpPr>
        <p:spPr bwMode="auto">
          <a:xfrm rot="3136105">
            <a:off x="7150094" y="5421828"/>
            <a:ext cx="124707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 of Tehra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8" name="Rectangle 23"/>
          <p:cNvSpPr>
            <a:spLocks noChangeArrowheads="1"/>
          </p:cNvSpPr>
          <p:nvPr/>
        </p:nvSpPr>
        <p:spPr bwMode="auto">
          <a:xfrm rot="3136105">
            <a:off x="8055145" y="5211323"/>
            <a:ext cx="80534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Islamic Azad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9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Note: Numbers of papers and citations from each institution within areas of Turkey’s global research competencies.</a:t>
            </a:r>
          </a:p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Source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グループ化 58"/>
          <p:cNvGrpSpPr/>
          <p:nvPr/>
        </p:nvGrpSpPr>
        <p:grpSpPr>
          <a:xfrm>
            <a:off x="5331758" y="1981590"/>
            <a:ext cx="3168000" cy="2483424"/>
            <a:chOff x="5331758" y="1981590"/>
            <a:chExt cx="3312000" cy="2483424"/>
          </a:xfrm>
        </p:grpSpPr>
        <p:cxnSp>
          <p:nvCxnSpPr>
            <p:cNvPr id="50" name="直線コネクタ 49"/>
            <p:cNvCxnSpPr/>
            <p:nvPr/>
          </p:nvCxnSpPr>
          <p:spPr bwMode="auto">
            <a:xfrm>
              <a:off x="5331758" y="1981590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直線コネクタ 50"/>
            <p:cNvCxnSpPr/>
            <p:nvPr/>
          </p:nvCxnSpPr>
          <p:spPr bwMode="auto">
            <a:xfrm>
              <a:off x="5331758" y="3222888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直線コネクタ 51"/>
            <p:cNvCxnSpPr/>
            <p:nvPr/>
          </p:nvCxnSpPr>
          <p:spPr bwMode="auto">
            <a:xfrm>
              <a:off x="5331758" y="2809122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直線コネクタ 52"/>
            <p:cNvCxnSpPr/>
            <p:nvPr/>
          </p:nvCxnSpPr>
          <p:spPr bwMode="auto">
            <a:xfrm>
              <a:off x="5331758" y="4050420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直線コネクタ 53"/>
            <p:cNvCxnSpPr/>
            <p:nvPr/>
          </p:nvCxnSpPr>
          <p:spPr bwMode="auto">
            <a:xfrm>
              <a:off x="5331758" y="3636654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直線コネクタ 54"/>
            <p:cNvCxnSpPr/>
            <p:nvPr/>
          </p:nvCxnSpPr>
          <p:spPr bwMode="auto">
            <a:xfrm>
              <a:off x="5331758" y="2395356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直線コネクタ 56"/>
            <p:cNvCxnSpPr/>
            <p:nvPr/>
          </p:nvCxnSpPr>
          <p:spPr bwMode="auto">
            <a:xfrm>
              <a:off x="5331758" y="4464183"/>
              <a:ext cx="3312000" cy="83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8" name="グループ化 47"/>
          <p:cNvGrpSpPr/>
          <p:nvPr/>
        </p:nvGrpSpPr>
        <p:grpSpPr>
          <a:xfrm>
            <a:off x="936542" y="1948062"/>
            <a:ext cx="3312000" cy="2412000"/>
            <a:chOff x="936542" y="2103511"/>
            <a:chExt cx="7200000" cy="2267321"/>
          </a:xfrm>
        </p:grpSpPr>
        <p:cxnSp>
          <p:nvCxnSpPr>
            <p:cNvPr id="42" name="直線コネクタ 41"/>
            <p:cNvCxnSpPr/>
            <p:nvPr/>
          </p:nvCxnSpPr>
          <p:spPr bwMode="auto">
            <a:xfrm>
              <a:off x="936542" y="2103511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直線コネクタ 42"/>
            <p:cNvCxnSpPr/>
            <p:nvPr/>
          </p:nvCxnSpPr>
          <p:spPr bwMode="auto">
            <a:xfrm>
              <a:off x="936542" y="3463354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直線コネクタ 43"/>
            <p:cNvCxnSpPr/>
            <p:nvPr/>
          </p:nvCxnSpPr>
          <p:spPr bwMode="auto">
            <a:xfrm>
              <a:off x="936542" y="3010073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直線コネクタ 44"/>
            <p:cNvCxnSpPr/>
            <p:nvPr/>
          </p:nvCxnSpPr>
          <p:spPr bwMode="auto">
            <a:xfrm>
              <a:off x="936542" y="4369917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直線コネクタ 45"/>
            <p:cNvCxnSpPr/>
            <p:nvPr/>
          </p:nvCxnSpPr>
          <p:spPr bwMode="auto">
            <a:xfrm>
              <a:off x="936542" y="3916635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直線コネクタ 46"/>
            <p:cNvCxnSpPr/>
            <p:nvPr/>
          </p:nvCxnSpPr>
          <p:spPr bwMode="auto">
            <a:xfrm>
              <a:off x="936542" y="2556792"/>
              <a:ext cx="7200000" cy="91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374650" y="0"/>
            <a:ext cx="8769350" cy="836613"/>
          </a:xfrm>
        </p:spPr>
        <p:txBody>
          <a:bodyPr/>
          <a:lstStyle/>
          <a:p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Collaboration targets? – </a:t>
            </a:r>
            <a:r>
              <a:rPr lang="en-US" altLang="ja-JP" sz="2600" u="sng" dirty="0" smtClean="0">
                <a:latin typeface="Arial" charset="0"/>
                <a:ea typeface="ＭＳ Ｐゴシック" charset="-128"/>
                <a:cs typeface="Arial" charset="0"/>
              </a:rPr>
              <a:t>US</a:t>
            </a:r>
            <a:r>
              <a:rPr lang="en-US" altLang="ja-JP" sz="2600" dirty="0" smtClean="0">
                <a:latin typeface="Arial" charset="0"/>
                <a:ea typeface="ＭＳ Ｐゴシック" charset="-128"/>
                <a:cs typeface="Arial" charset="0"/>
              </a:rPr>
              <a:t> Institutions actively conducting research in Turkey’s strength areas</a:t>
            </a:r>
            <a:endParaRPr kumimoji="1" lang="ja-JP" altLang="en-US" sz="2600" dirty="0" smtClean="0">
              <a:ea typeface="ＭＳ Ｐゴシック" charset="-128"/>
              <a:cs typeface="Arial" charset="0"/>
            </a:endParaRPr>
          </a:p>
        </p:txBody>
      </p:sp>
      <p:sp>
        <p:nvSpPr>
          <p:cNvPr id="21508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30000"/>
              </a:lnSpc>
              <a:buClr>
                <a:srgbClr val="000000"/>
              </a:buClr>
            </a:pPr>
            <a:fld id="{CF20DD8D-818B-45A0-B8ED-A23407BAADB4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 algn="r">
                <a:lnSpc>
                  <a:spcPct val="130000"/>
                </a:lnSpc>
                <a:buClr>
                  <a:srgbClr val="000000"/>
                </a:buClr>
              </a:pPr>
              <a:t>26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50862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# of Papers*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3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06163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altLang="ja-JP" sz="2000" b="1" dirty="0" smtClean="0">
                <a:latin typeface="Arial" charset="0"/>
                <a:ea typeface="ＭＳ Ｐゴシック" charset="-128"/>
                <a:cs typeface="Arial" charset="0"/>
              </a:rPr>
              <a:t>Total Citations*</a:t>
            </a:r>
            <a:endParaRPr lang="ja-JP" altLang="en-US" sz="2000" b="1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2057" name="Freeform 9"/>
          <p:cNvSpPr>
            <a:spLocks noEditPoints="1"/>
          </p:cNvSpPr>
          <p:nvPr/>
        </p:nvSpPr>
        <p:spPr bwMode="auto">
          <a:xfrm>
            <a:off x="1206830" y="2341108"/>
            <a:ext cx="2822291" cy="251709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8" y="0"/>
              </a:cxn>
              <a:cxn ang="0">
                <a:pos x="218" y="1057"/>
              </a:cxn>
              <a:cxn ang="0">
                <a:pos x="0" y="1057"/>
              </a:cxn>
              <a:cxn ang="0">
                <a:pos x="0" y="0"/>
              </a:cxn>
              <a:cxn ang="0">
                <a:pos x="552" y="640"/>
              </a:cxn>
              <a:cxn ang="0">
                <a:pos x="775" y="640"/>
              </a:cxn>
              <a:cxn ang="0">
                <a:pos x="775" y="1057"/>
              </a:cxn>
              <a:cxn ang="0">
                <a:pos x="552" y="1057"/>
              </a:cxn>
              <a:cxn ang="0">
                <a:pos x="552" y="640"/>
              </a:cxn>
              <a:cxn ang="0">
                <a:pos x="1110" y="894"/>
              </a:cxn>
              <a:cxn ang="0">
                <a:pos x="1328" y="894"/>
              </a:cxn>
              <a:cxn ang="0">
                <a:pos x="1328" y="1057"/>
              </a:cxn>
              <a:cxn ang="0">
                <a:pos x="1110" y="1057"/>
              </a:cxn>
              <a:cxn ang="0">
                <a:pos x="1110" y="894"/>
              </a:cxn>
              <a:cxn ang="0">
                <a:pos x="1662" y="952"/>
              </a:cxn>
              <a:cxn ang="0">
                <a:pos x="1885" y="952"/>
              </a:cxn>
              <a:cxn ang="0">
                <a:pos x="1885" y="1057"/>
              </a:cxn>
              <a:cxn ang="0">
                <a:pos x="1662" y="1057"/>
              </a:cxn>
              <a:cxn ang="0">
                <a:pos x="1662" y="952"/>
              </a:cxn>
            </a:cxnLst>
            <a:rect l="0" t="0" r="r" b="b"/>
            <a:pathLst>
              <a:path w="1885" h="1057">
                <a:moveTo>
                  <a:pt x="0" y="0"/>
                </a:moveTo>
                <a:lnTo>
                  <a:pt x="218" y="0"/>
                </a:lnTo>
                <a:lnTo>
                  <a:pt x="218" y="1057"/>
                </a:lnTo>
                <a:lnTo>
                  <a:pt x="0" y="1057"/>
                </a:lnTo>
                <a:lnTo>
                  <a:pt x="0" y="0"/>
                </a:lnTo>
                <a:close/>
                <a:moveTo>
                  <a:pt x="552" y="640"/>
                </a:moveTo>
                <a:lnTo>
                  <a:pt x="775" y="640"/>
                </a:lnTo>
                <a:lnTo>
                  <a:pt x="775" y="1057"/>
                </a:lnTo>
                <a:lnTo>
                  <a:pt x="552" y="1057"/>
                </a:lnTo>
                <a:lnTo>
                  <a:pt x="552" y="640"/>
                </a:lnTo>
                <a:close/>
                <a:moveTo>
                  <a:pt x="1110" y="894"/>
                </a:moveTo>
                <a:lnTo>
                  <a:pt x="1328" y="894"/>
                </a:lnTo>
                <a:lnTo>
                  <a:pt x="1328" y="1057"/>
                </a:lnTo>
                <a:lnTo>
                  <a:pt x="1110" y="1057"/>
                </a:lnTo>
                <a:lnTo>
                  <a:pt x="1110" y="894"/>
                </a:lnTo>
                <a:close/>
                <a:moveTo>
                  <a:pt x="1662" y="952"/>
                </a:moveTo>
                <a:lnTo>
                  <a:pt x="1885" y="952"/>
                </a:lnTo>
                <a:lnTo>
                  <a:pt x="1885" y="1057"/>
                </a:lnTo>
                <a:lnTo>
                  <a:pt x="1662" y="1057"/>
                </a:lnTo>
                <a:lnTo>
                  <a:pt x="1662" y="952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058" name="Rectangle 10"/>
          <p:cNvSpPr>
            <a:spLocks noChangeArrowheads="1"/>
          </p:cNvSpPr>
          <p:nvPr/>
        </p:nvSpPr>
        <p:spPr bwMode="auto">
          <a:xfrm>
            <a:off x="952300" y="1950566"/>
            <a:ext cx="7487" cy="2895729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059" name="Freeform 11"/>
          <p:cNvSpPr>
            <a:spLocks noEditPoints="1"/>
          </p:cNvSpPr>
          <p:nvPr/>
        </p:nvSpPr>
        <p:spPr bwMode="auto">
          <a:xfrm>
            <a:off x="920857" y="1950566"/>
            <a:ext cx="31442" cy="2907635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15"/>
              </a:cxn>
              <a:cxn ang="0">
                <a:pos x="21" y="1015"/>
              </a:cxn>
              <a:cxn ang="0">
                <a:pos x="21" y="1021"/>
              </a:cxn>
              <a:cxn ang="0">
                <a:pos x="0" y="1021"/>
              </a:cxn>
              <a:cxn ang="0">
                <a:pos x="0" y="1015"/>
              </a:cxn>
              <a:cxn ang="0">
                <a:pos x="0" y="814"/>
              </a:cxn>
              <a:cxn ang="0">
                <a:pos x="21" y="814"/>
              </a:cxn>
              <a:cxn ang="0">
                <a:pos x="21" y="820"/>
              </a:cxn>
              <a:cxn ang="0">
                <a:pos x="0" y="820"/>
              </a:cxn>
              <a:cxn ang="0">
                <a:pos x="0" y="814"/>
              </a:cxn>
              <a:cxn ang="0">
                <a:pos x="0" y="608"/>
              </a:cxn>
              <a:cxn ang="0">
                <a:pos x="21" y="608"/>
              </a:cxn>
              <a:cxn ang="0">
                <a:pos x="21" y="613"/>
              </a:cxn>
              <a:cxn ang="0">
                <a:pos x="0" y="613"/>
              </a:cxn>
              <a:cxn ang="0">
                <a:pos x="0" y="608"/>
              </a:cxn>
              <a:cxn ang="0">
                <a:pos x="0" y="407"/>
              </a:cxn>
              <a:cxn ang="0">
                <a:pos x="21" y="407"/>
              </a:cxn>
              <a:cxn ang="0">
                <a:pos x="21" y="413"/>
              </a:cxn>
              <a:cxn ang="0">
                <a:pos x="0" y="413"/>
              </a:cxn>
              <a:cxn ang="0">
                <a:pos x="0" y="407"/>
              </a:cxn>
              <a:cxn ang="0">
                <a:pos x="0" y="206"/>
              </a:cxn>
              <a:cxn ang="0">
                <a:pos x="21" y="206"/>
              </a:cxn>
              <a:cxn ang="0">
                <a:pos x="21" y="212"/>
              </a:cxn>
              <a:cxn ang="0">
                <a:pos x="0" y="212"/>
              </a:cxn>
              <a:cxn ang="0">
                <a:pos x="0" y="206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15"/>
                </a:moveTo>
                <a:lnTo>
                  <a:pt x="21" y="1015"/>
                </a:lnTo>
                <a:lnTo>
                  <a:pt x="21" y="1021"/>
                </a:lnTo>
                <a:lnTo>
                  <a:pt x="0" y="1021"/>
                </a:lnTo>
                <a:lnTo>
                  <a:pt x="0" y="1015"/>
                </a:lnTo>
                <a:close/>
                <a:moveTo>
                  <a:pt x="0" y="814"/>
                </a:moveTo>
                <a:lnTo>
                  <a:pt x="21" y="814"/>
                </a:lnTo>
                <a:lnTo>
                  <a:pt x="21" y="820"/>
                </a:lnTo>
                <a:lnTo>
                  <a:pt x="0" y="820"/>
                </a:lnTo>
                <a:lnTo>
                  <a:pt x="0" y="814"/>
                </a:lnTo>
                <a:close/>
                <a:moveTo>
                  <a:pt x="0" y="608"/>
                </a:moveTo>
                <a:lnTo>
                  <a:pt x="21" y="608"/>
                </a:lnTo>
                <a:lnTo>
                  <a:pt x="21" y="613"/>
                </a:lnTo>
                <a:lnTo>
                  <a:pt x="0" y="613"/>
                </a:lnTo>
                <a:lnTo>
                  <a:pt x="0" y="608"/>
                </a:lnTo>
                <a:close/>
                <a:moveTo>
                  <a:pt x="0" y="407"/>
                </a:moveTo>
                <a:lnTo>
                  <a:pt x="21" y="407"/>
                </a:lnTo>
                <a:lnTo>
                  <a:pt x="21" y="413"/>
                </a:lnTo>
                <a:lnTo>
                  <a:pt x="0" y="413"/>
                </a:lnTo>
                <a:lnTo>
                  <a:pt x="0" y="407"/>
                </a:lnTo>
                <a:close/>
                <a:moveTo>
                  <a:pt x="0" y="206"/>
                </a:moveTo>
                <a:lnTo>
                  <a:pt x="21" y="206"/>
                </a:lnTo>
                <a:lnTo>
                  <a:pt x="21" y="212"/>
                </a:lnTo>
                <a:lnTo>
                  <a:pt x="0" y="212"/>
                </a:lnTo>
                <a:lnTo>
                  <a:pt x="0" y="206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060" name="Rectangle 12"/>
          <p:cNvSpPr>
            <a:spLocks noChangeArrowheads="1"/>
          </p:cNvSpPr>
          <p:nvPr/>
        </p:nvSpPr>
        <p:spPr bwMode="auto">
          <a:xfrm>
            <a:off x="952300" y="4846295"/>
            <a:ext cx="3323865" cy="11906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062" name="Rectangle 14"/>
          <p:cNvSpPr>
            <a:spLocks noChangeArrowheads="1"/>
          </p:cNvSpPr>
          <p:nvPr/>
        </p:nvSpPr>
        <p:spPr bwMode="auto">
          <a:xfrm>
            <a:off x="712907" y="4760566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3" name="Rectangle 15"/>
          <p:cNvSpPr>
            <a:spLocks noChangeArrowheads="1"/>
          </p:cNvSpPr>
          <p:nvPr/>
        </p:nvSpPr>
        <p:spPr bwMode="auto">
          <a:xfrm>
            <a:off x="555813" y="4281914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4" name="Rectangle 16"/>
          <p:cNvSpPr>
            <a:spLocks noChangeArrowheads="1"/>
          </p:cNvSpPr>
          <p:nvPr/>
        </p:nvSpPr>
        <p:spPr bwMode="auto">
          <a:xfrm>
            <a:off x="555813" y="3791355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5" name="Rectangle 17"/>
          <p:cNvSpPr>
            <a:spLocks noChangeArrowheads="1"/>
          </p:cNvSpPr>
          <p:nvPr/>
        </p:nvSpPr>
        <p:spPr bwMode="auto">
          <a:xfrm>
            <a:off x="555813" y="3312702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3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6" name="Rectangle 18"/>
          <p:cNvSpPr>
            <a:spLocks noChangeArrowheads="1"/>
          </p:cNvSpPr>
          <p:nvPr/>
        </p:nvSpPr>
        <p:spPr bwMode="auto">
          <a:xfrm>
            <a:off x="555813" y="2834050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7" name="Rectangle 19"/>
          <p:cNvSpPr>
            <a:spLocks noChangeArrowheads="1"/>
          </p:cNvSpPr>
          <p:nvPr/>
        </p:nvSpPr>
        <p:spPr bwMode="auto">
          <a:xfrm>
            <a:off x="555813" y="2343490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5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68" name="Rectangle 20"/>
          <p:cNvSpPr>
            <a:spLocks noChangeArrowheads="1"/>
          </p:cNvSpPr>
          <p:nvPr/>
        </p:nvSpPr>
        <p:spPr bwMode="auto">
          <a:xfrm>
            <a:off x="555813" y="186483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0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4" name="Rectangle 23"/>
          <p:cNvSpPr>
            <a:spLocks noChangeArrowheads="1"/>
          </p:cNvSpPr>
          <p:nvPr/>
        </p:nvSpPr>
        <p:spPr bwMode="auto">
          <a:xfrm rot="3136105">
            <a:off x="1122932" y="5403304"/>
            <a:ext cx="115672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Harvard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7" name="Rectangle 23"/>
          <p:cNvSpPr>
            <a:spLocks noChangeArrowheads="1"/>
          </p:cNvSpPr>
          <p:nvPr/>
        </p:nvSpPr>
        <p:spPr bwMode="auto">
          <a:xfrm rot="3136105">
            <a:off x="2007888" y="5305683"/>
            <a:ext cx="10004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S Department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of Agriculture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8" name="Rectangle 23"/>
          <p:cNvSpPr>
            <a:spLocks noChangeArrowheads="1"/>
          </p:cNvSpPr>
          <p:nvPr/>
        </p:nvSpPr>
        <p:spPr bwMode="auto">
          <a:xfrm rot="3136105">
            <a:off x="2898883" y="5271021"/>
            <a:ext cx="9128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niversity of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North Carolin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" name="Rectangle 23"/>
          <p:cNvSpPr>
            <a:spLocks noChangeArrowheads="1"/>
          </p:cNvSpPr>
          <p:nvPr/>
        </p:nvSpPr>
        <p:spPr bwMode="auto">
          <a:xfrm rot="3136105">
            <a:off x="3678223" y="5260854"/>
            <a:ext cx="8871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Baylor College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of Medicine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81" name="Freeform 33"/>
          <p:cNvSpPr>
            <a:spLocks noEditPoints="1"/>
          </p:cNvSpPr>
          <p:nvPr/>
        </p:nvSpPr>
        <p:spPr bwMode="auto">
          <a:xfrm>
            <a:off x="5535753" y="2417837"/>
            <a:ext cx="2739861" cy="2446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7" y="0"/>
              </a:cxn>
              <a:cxn ang="0">
                <a:pos x="217" y="1036"/>
              </a:cxn>
              <a:cxn ang="0">
                <a:pos x="0" y="1036"/>
              </a:cxn>
              <a:cxn ang="0">
                <a:pos x="0" y="0"/>
              </a:cxn>
              <a:cxn ang="0">
                <a:pos x="541" y="709"/>
              </a:cxn>
              <a:cxn ang="0">
                <a:pos x="759" y="709"/>
              </a:cxn>
              <a:cxn ang="0">
                <a:pos x="759" y="1036"/>
              </a:cxn>
              <a:cxn ang="0">
                <a:pos x="541" y="1036"/>
              </a:cxn>
              <a:cxn ang="0">
                <a:pos x="541" y="709"/>
              </a:cxn>
              <a:cxn ang="0">
                <a:pos x="1083" y="740"/>
              </a:cxn>
              <a:cxn ang="0">
                <a:pos x="1301" y="740"/>
              </a:cxn>
              <a:cxn ang="0">
                <a:pos x="1301" y="1036"/>
              </a:cxn>
              <a:cxn ang="0">
                <a:pos x="1083" y="1036"/>
              </a:cxn>
              <a:cxn ang="0">
                <a:pos x="1083" y="740"/>
              </a:cxn>
              <a:cxn ang="0">
                <a:pos x="1625" y="746"/>
              </a:cxn>
              <a:cxn ang="0">
                <a:pos x="1843" y="746"/>
              </a:cxn>
              <a:cxn ang="0">
                <a:pos x="1843" y="1036"/>
              </a:cxn>
              <a:cxn ang="0">
                <a:pos x="1625" y="1036"/>
              </a:cxn>
              <a:cxn ang="0">
                <a:pos x="1625" y="746"/>
              </a:cxn>
            </a:cxnLst>
            <a:rect l="0" t="0" r="r" b="b"/>
            <a:pathLst>
              <a:path w="1843" h="1036">
                <a:moveTo>
                  <a:pt x="0" y="0"/>
                </a:moveTo>
                <a:lnTo>
                  <a:pt x="217" y="0"/>
                </a:lnTo>
                <a:lnTo>
                  <a:pt x="217" y="1036"/>
                </a:lnTo>
                <a:lnTo>
                  <a:pt x="0" y="1036"/>
                </a:lnTo>
                <a:lnTo>
                  <a:pt x="0" y="0"/>
                </a:lnTo>
                <a:close/>
                <a:moveTo>
                  <a:pt x="541" y="709"/>
                </a:moveTo>
                <a:lnTo>
                  <a:pt x="759" y="709"/>
                </a:lnTo>
                <a:lnTo>
                  <a:pt x="759" y="1036"/>
                </a:lnTo>
                <a:lnTo>
                  <a:pt x="541" y="1036"/>
                </a:lnTo>
                <a:lnTo>
                  <a:pt x="541" y="709"/>
                </a:lnTo>
                <a:close/>
                <a:moveTo>
                  <a:pt x="1083" y="740"/>
                </a:moveTo>
                <a:lnTo>
                  <a:pt x="1301" y="740"/>
                </a:lnTo>
                <a:lnTo>
                  <a:pt x="1301" y="1036"/>
                </a:lnTo>
                <a:lnTo>
                  <a:pt x="1083" y="1036"/>
                </a:lnTo>
                <a:lnTo>
                  <a:pt x="1083" y="740"/>
                </a:lnTo>
                <a:close/>
                <a:moveTo>
                  <a:pt x="1625" y="746"/>
                </a:moveTo>
                <a:lnTo>
                  <a:pt x="1843" y="746"/>
                </a:lnTo>
                <a:lnTo>
                  <a:pt x="1843" y="1036"/>
                </a:lnTo>
                <a:lnTo>
                  <a:pt x="1625" y="1036"/>
                </a:lnTo>
                <a:lnTo>
                  <a:pt x="1625" y="746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2" name="Rectangle 34"/>
          <p:cNvSpPr>
            <a:spLocks noChangeArrowheads="1"/>
          </p:cNvSpPr>
          <p:nvPr/>
        </p:nvSpPr>
        <p:spPr bwMode="auto">
          <a:xfrm>
            <a:off x="5290459" y="1981035"/>
            <a:ext cx="7434" cy="2871084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3" name="Freeform 35"/>
          <p:cNvSpPr>
            <a:spLocks noEditPoints="1"/>
          </p:cNvSpPr>
          <p:nvPr/>
        </p:nvSpPr>
        <p:spPr bwMode="auto">
          <a:xfrm>
            <a:off x="5259240" y="1981035"/>
            <a:ext cx="31220" cy="2882889"/>
          </a:xfrm>
          <a:custGeom>
            <a:avLst/>
            <a:gdLst/>
            <a:ahLst/>
            <a:cxnLst>
              <a:cxn ang="0">
                <a:pos x="0" y="1216"/>
              </a:cxn>
              <a:cxn ang="0">
                <a:pos x="21" y="1216"/>
              </a:cxn>
              <a:cxn ang="0">
                <a:pos x="21" y="1221"/>
              </a:cxn>
              <a:cxn ang="0">
                <a:pos x="0" y="1221"/>
              </a:cxn>
              <a:cxn ang="0">
                <a:pos x="0" y="1216"/>
              </a:cxn>
              <a:cxn ang="0">
                <a:pos x="0" y="1042"/>
              </a:cxn>
              <a:cxn ang="0">
                <a:pos x="21" y="1042"/>
              </a:cxn>
              <a:cxn ang="0">
                <a:pos x="21" y="1047"/>
              </a:cxn>
              <a:cxn ang="0">
                <a:pos x="0" y="1047"/>
              </a:cxn>
              <a:cxn ang="0">
                <a:pos x="0" y="1042"/>
              </a:cxn>
              <a:cxn ang="0">
                <a:pos x="0" y="873"/>
              </a:cxn>
              <a:cxn ang="0">
                <a:pos x="21" y="873"/>
              </a:cxn>
              <a:cxn ang="0">
                <a:pos x="21" y="878"/>
              </a:cxn>
              <a:cxn ang="0">
                <a:pos x="0" y="878"/>
              </a:cxn>
              <a:cxn ang="0">
                <a:pos x="0" y="873"/>
              </a:cxn>
              <a:cxn ang="0">
                <a:pos x="0" y="698"/>
              </a:cxn>
              <a:cxn ang="0">
                <a:pos x="21" y="698"/>
              </a:cxn>
              <a:cxn ang="0">
                <a:pos x="21" y="703"/>
              </a:cxn>
              <a:cxn ang="0">
                <a:pos x="0" y="703"/>
              </a:cxn>
              <a:cxn ang="0">
                <a:pos x="0" y="698"/>
              </a:cxn>
              <a:cxn ang="0">
                <a:pos x="0" y="524"/>
              </a:cxn>
              <a:cxn ang="0">
                <a:pos x="21" y="524"/>
              </a:cxn>
              <a:cxn ang="0">
                <a:pos x="21" y="529"/>
              </a:cxn>
              <a:cxn ang="0">
                <a:pos x="0" y="529"/>
              </a:cxn>
              <a:cxn ang="0">
                <a:pos x="0" y="524"/>
              </a:cxn>
              <a:cxn ang="0">
                <a:pos x="0" y="349"/>
              </a:cxn>
              <a:cxn ang="0">
                <a:pos x="21" y="349"/>
              </a:cxn>
              <a:cxn ang="0">
                <a:pos x="21" y="354"/>
              </a:cxn>
              <a:cxn ang="0">
                <a:pos x="0" y="354"/>
              </a:cxn>
              <a:cxn ang="0">
                <a:pos x="0" y="349"/>
              </a:cxn>
              <a:cxn ang="0">
                <a:pos x="0" y="175"/>
              </a:cxn>
              <a:cxn ang="0">
                <a:pos x="21" y="175"/>
              </a:cxn>
              <a:cxn ang="0">
                <a:pos x="21" y="180"/>
              </a:cxn>
              <a:cxn ang="0">
                <a:pos x="0" y="180"/>
              </a:cxn>
              <a:cxn ang="0">
                <a:pos x="0" y="175"/>
              </a:cxn>
              <a:cxn ang="0">
                <a:pos x="0" y="0"/>
              </a:cxn>
              <a:cxn ang="0">
                <a:pos x="21" y="0"/>
              </a:cxn>
              <a:cxn ang="0">
                <a:pos x="21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21" h="1221">
                <a:moveTo>
                  <a:pt x="0" y="1216"/>
                </a:moveTo>
                <a:lnTo>
                  <a:pt x="21" y="1216"/>
                </a:lnTo>
                <a:lnTo>
                  <a:pt x="21" y="1221"/>
                </a:lnTo>
                <a:lnTo>
                  <a:pt x="0" y="1221"/>
                </a:lnTo>
                <a:lnTo>
                  <a:pt x="0" y="1216"/>
                </a:lnTo>
                <a:close/>
                <a:moveTo>
                  <a:pt x="0" y="1042"/>
                </a:moveTo>
                <a:lnTo>
                  <a:pt x="21" y="1042"/>
                </a:lnTo>
                <a:lnTo>
                  <a:pt x="21" y="1047"/>
                </a:lnTo>
                <a:lnTo>
                  <a:pt x="0" y="1047"/>
                </a:lnTo>
                <a:lnTo>
                  <a:pt x="0" y="1042"/>
                </a:lnTo>
                <a:close/>
                <a:moveTo>
                  <a:pt x="0" y="873"/>
                </a:moveTo>
                <a:lnTo>
                  <a:pt x="21" y="873"/>
                </a:lnTo>
                <a:lnTo>
                  <a:pt x="21" y="878"/>
                </a:lnTo>
                <a:lnTo>
                  <a:pt x="0" y="878"/>
                </a:lnTo>
                <a:lnTo>
                  <a:pt x="0" y="873"/>
                </a:lnTo>
                <a:close/>
                <a:moveTo>
                  <a:pt x="0" y="698"/>
                </a:moveTo>
                <a:lnTo>
                  <a:pt x="21" y="698"/>
                </a:lnTo>
                <a:lnTo>
                  <a:pt x="21" y="703"/>
                </a:lnTo>
                <a:lnTo>
                  <a:pt x="0" y="703"/>
                </a:lnTo>
                <a:lnTo>
                  <a:pt x="0" y="698"/>
                </a:lnTo>
                <a:close/>
                <a:moveTo>
                  <a:pt x="0" y="524"/>
                </a:moveTo>
                <a:lnTo>
                  <a:pt x="21" y="524"/>
                </a:lnTo>
                <a:lnTo>
                  <a:pt x="21" y="529"/>
                </a:lnTo>
                <a:lnTo>
                  <a:pt x="0" y="529"/>
                </a:lnTo>
                <a:lnTo>
                  <a:pt x="0" y="524"/>
                </a:lnTo>
                <a:close/>
                <a:moveTo>
                  <a:pt x="0" y="349"/>
                </a:moveTo>
                <a:lnTo>
                  <a:pt x="21" y="349"/>
                </a:lnTo>
                <a:lnTo>
                  <a:pt x="21" y="354"/>
                </a:lnTo>
                <a:lnTo>
                  <a:pt x="0" y="354"/>
                </a:lnTo>
                <a:lnTo>
                  <a:pt x="0" y="349"/>
                </a:lnTo>
                <a:close/>
                <a:moveTo>
                  <a:pt x="0" y="175"/>
                </a:moveTo>
                <a:lnTo>
                  <a:pt x="21" y="175"/>
                </a:lnTo>
                <a:lnTo>
                  <a:pt x="21" y="180"/>
                </a:lnTo>
                <a:lnTo>
                  <a:pt x="0" y="180"/>
                </a:lnTo>
                <a:lnTo>
                  <a:pt x="0" y="175"/>
                </a:lnTo>
                <a:close/>
                <a:moveTo>
                  <a:pt x="0" y="0"/>
                </a:moveTo>
                <a:lnTo>
                  <a:pt x="21" y="0"/>
                </a:lnTo>
                <a:lnTo>
                  <a:pt x="21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7938">
            <a:solidFill>
              <a:srgbClr val="86868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4" name="Rectangle 36"/>
          <p:cNvSpPr>
            <a:spLocks noChangeArrowheads="1"/>
          </p:cNvSpPr>
          <p:nvPr/>
        </p:nvSpPr>
        <p:spPr bwMode="auto">
          <a:xfrm>
            <a:off x="5290459" y="4852119"/>
            <a:ext cx="3221529" cy="11805"/>
          </a:xfrm>
          <a:prstGeom prst="rect">
            <a:avLst/>
          </a:prstGeom>
          <a:solidFill>
            <a:srgbClr val="868686"/>
          </a:solidFill>
          <a:ln w="7938">
            <a:solidFill>
              <a:srgbClr val="868686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6" name="Rectangle 38"/>
          <p:cNvSpPr>
            <a:spLocks noChangeArrowheads="1"/>
          </p:cNvSpPr>
          <p:nvPr/>
        </p:nvSpPr>
        <p:spPr bwMode="auto">
          <a:xfrm>
            <a:off x="5131491" y="4780567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87" name="Rectangle 39"/>
          <p:cNvSpPr>
            <a:spLocks noChangeArrowheads="1"/>
          </p:cNvSpPr>
          <p:nvPr/>
        </p:nvSpPr>
        <p:spPr bwMode="auto">
          <a:xfrm>
            <a:off x="4974397" y="436737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88" name="Rectangle 40"/>
          <p:cNvSpPr>
            <a:spLocks noChangeArrowheads="1"/>
          </p:cNvSpPr>
          <p:nvPr/>
        </p:nvSpPr>
        <p:spPr bwMode="auto">
          <a:xfrm>
            <a:off x="4974397" y="3956548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89" name="Rectangle 41"/>
          <p:cNvSpPr>
            <a:spLocks noChangeArrowheads="1"/>
          </p:cNvSpPr>
          <p:nvPr/>
        </p:nvSpPr>
        <p:spPr bwMode="auto">
          <a:xfrm>
            <a:off x="4974397" y="3543356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6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90" name="Rectangle 42"/>
          <p:cNvSpPr>
            <a:spLocks noChangeArrowheads="1"/>
          </p:cNvSpPr>
          <p:nvPr/>
        </p:nvSpPr>
        <p:spPr bwMode="auto">
          <a:xfrm>
            <a:off x="4974397" y="3132527"/>
            <a:ext cx="2356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8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91" name="Rectangle 43"/>
          <p:cNvSpPr>
            <a:spLocks noChangeArrowheads="1"/>
          </p:cNvSpPr>
          <p:nvPr/>
        </p:nvSpPr>
        <p:spPr bwMode="auto">
          <a:xfrm>
            <a:off x="4857378" y="2733504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0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92" name="Rectangle 44"/>
          <p:cNvSpPr>
            <a:spLocks noChangeArrowheads="1"/>
          </p:cNvSpPr>
          <p:nvPr/>
        </p:nvSpPr>
        <p:spPr bwMode="auto">
          <a:xfrm>
            <a:off x="4857378" y="2320312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2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93" name="Rectangle 45"/>
          <p:cNvSpPr>
            <a:spLocks noChangeArrowheads="1"/>
          </p:cNvSpPr>
          <p:nvPr/>
        </p:nvSpPr>
        <p:spPr bwMode="auto">
          <a:xfrm>
            <a:off x="4857378" y="1909483"/>
            <a:ext cx="3526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</a:rPr>
              <a:t>1,400</a:t>
            </a: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9" name="Rectangle 23"/>
          <p:cNvSpPr>
            <a:spLocks noChangeArrowheads="1"/>
          </p:cNvSpPr>
          <p:nvPr/>
        </p:nvSpPr>
        <p:spPr bwMode="auto">
          <a:xfrm rot="3136105">
            <a:off x="5412543" y="5403304"/>
            <a:ext cx="115672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Harvard University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0" name="Rectangle 23"/>
          <p:cNvSpPr>
            <a:spLocks noChangeArrowheads="1"/>
          </p:cNvSpPr>
          <p:nvPr/>
        </p:nvSpPr>
        <p:spPr bwMode="auto">
          <a:xfrm rot="3136105">
            <a:off x="6077025" y="5480055"/>
            <a:ext cx="144142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Washing ton University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at St. Loui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1" name="Rectangle 23"/>
          <p:cNvSpPr>
            <a:spLocks noChangeArrowheads="1"/>
          </p:cNvSpPr>
          <p:nvPr/>
        </p:nvSpPr>
        <p:spPr bwMode="auto">
          <a:xfrm rot="3136105">
            <a:off x="7149255" y="5302057"/>
            <a:ext cx="9912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Medical College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at Georgi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2" name="Rectangle 23"/>
          <p:cNvSpPr>
            <a:spLocks noChangeArrowheads="1"/>
          </p:cNvSpPr>
          <p:nvPr/>
        </p:nvSpPr>
        <p:spPr bwMode="auto">
          <a:xfrm rot="3136105">
            <a:off x="7911152" y="5305683"/>
            <a:ext cx="10004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US Department </a:t>
            </a:r>
            <a:br>
              <a:rPr lang="en-US" sz="1200" dirty="0" smtClean="0">
                <a:solidFill>
                  <a:srgbClr val="000000"/>
                </a:solidFill>
                <a:latin typeface="+mn-lt"/>
              </a:rPr>
            </a:br>
            <a:r>
              <a:rPr lang="en-US" sz="1200" dirty="0" smtClean="0">
                <a:solidFill>
                  <a:srgbClr val="000000"/>
                </a:solidFill>
                <a:latin typeface="+mn-lt"/>
              </a:rPr>
              <a:t>of Agriculture</a:t>
            </a:r>
          </a:p>
        </p:txBody>
      </p:sp>
      <p:sp>
        <p:nvSpPr>
          <p:cNvPr id="38" name="Rectangle 25"/>
          <p:cNvSpPr>
            <a:spLocks noChangeArrowheads="1"/>
          </p:cNvSpPr>
          <p:nvPr/>
        </p:nvSpPr>
        <p:spPr bwMode="auto">
          <a:xfrm>
            <a:off x="249555" y="6305804"/>
            <a:ext cx="7610475" cy="469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* Note: Numbers of papers and citations from each institution within areas of Turkey’s global research competencies.</a:t>
            </a:r>
          </a:p>
          <a:p>
            <a:pPr marL="88900" indent="-88900">
              <a:buClr>
                <a:srgbClr val="000000"/>
              </a:buClr>
            </a:pP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Source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: </a:t>
            </a:r>
            <a:r>
              <a:rPr lang="en-US" altLang="ja-JP" sz="1200" dirty="0" err="1">
                <a:solidFill>
                  <a:srgbClr val="000000"/>
                </a:solidFill>
                <a:ea typeface="ＭＳ Ｐゴシック" charset="-128"/>
              </a:rPr>
              <a:t>SciVal</a:t>
            </a:r>
            <a:r>
              <a:rPr lang="en-US" altLang="ja-JP" sz="1200" dirty="0">
                <a:solidFill>
                  <a:srgbClr val="000000"/>
                </a:solidFill>
                <a:ea typeface="ＭＳ Ｐゴシック" charset="-128"/>
              </a:rPr>
              <a:t> Spotlight </a:t>
            </a:r>
            <a:r>
              <a:rPr lang="en-US" altLang="ja-JP" sz="1200" dirty="0" smtClean="0">
                <a:solidFill>
                  <a:srgbClr val="000000"/>
                </a:solidFill>
                <a:ea typeface="ＭＳ Ｐゴシック" charset="-128"/>
              </a:rPr>
              <a:t> (Turkey Map) (May 2011)</a:t>
            </a:r>
            <a:endParaRPr lang="ja-JP" altLang="en-US" sz="12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>
            <a:off x="1066800" y="2057399"/>
            <a:ext cx="561975" cy="2905125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-104775"/>
            <a:ext cx="8353425" cy="836613"/>
          </a:xfrm>
        </p:spPr>
        <p:txBody>
          <a:bodyPr/>
          <a:lstStyle/>
          <a:p>
            <a:r>
              <a:rPr lang="en-GB" dirty="0" smtClean="0"/>
              <a:t>HARVARD UNIVERSITY AND TURKE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27</a:t>
            </a:fld>
            <a:endParaRPr lang="en-US" altLang="ja-JP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6819" y="910590"/>
            <a:ext cx="4568460" cy="57359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3981450" y="3838575"/>
            <a:ext cx="4187825" cy="809625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Find out where Harvard are also researching in Turkey’s strength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5276850" y="1266825"/>
            <a:ext cx="3705225" cy="1009649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88900" indent="-88900" algn="ctr">
              <a:spcBef>
                <a:spcPct val="50000"/>
              </a:spcBef>
              <a:defRPr/>
            </a:pPr>
            <a:r>
              <a:rPr lang="en-GB" sz="2000" b="1" dirty="0" smtClean="0">
                <a:solidFill>
                  <a:schemeClr val="tx1"/>
                </a:solidFill>
              </a:rPr>
              <a:t>What collaboration opportunities are available?</a:t>
            </a:r>
            <a:endParaRPr lang="en-GB" sz="2000" b="1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723900" y="3076576"/>
            <a:ext cx="4000499" cy="476250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PETING AUTHORS IN A TURKEY STRENGT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28</a:t>
            </a:fld>
            <a:endParaRPr lang="en-US" altLang="ja-JP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720" y="1002602"/>
            <a:ext cx="7050405" cy="5615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ounded Rectangle 4"/>
          <p:cNvSpPr/>
          <p:nvPr/>
        </p:nvSpPr>
        <p:spPr bwMode="auto">
          <a:xfrm>
            <a:off x="3143250" y="4533900"/>
            <a:ext cx="4314825" cy="180974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543051" y="5019675"/>
            <a:ext cx="2171699" cy="847726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4629150" y="2324100"/>
            <a:ext cx="4187825" cy="409575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See the competing authors in this competency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3905250" y="5048251"/>
            <a:ext cx="2768600" cy="819150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Link to their author profile in SciVerse Scopus</a:t>
            </a:r>
            <a:endParaRPr lang="en-GB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 MORE ABOUT THE AUTHOR IN SCIVERSE SCOP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29</a:t>
            </a:fld>
            <a:endParaRPr lang="en-US" altLang="ja-JP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7804" y="1000630"/>
            <a:ext cx="8468392" cy="54458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3381376" y="4838701"/>
            <a:ext cx="2952750" cy="1009650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Look at their papers, citations references and </a:t>
            </a:r>
            <a:r>
              <a:rPr lang="en-GB" sz="1600" b="1" i="1" dirty="0" smtClean="0">
                <a:solidFill>
                  <a:schemeClr val="bg1"/>
                </a:solidFill>
              </a:rPr>
              <a:t>h-</a:t>
            </a:r>
            <a:r>
              <a:rPr lang="en-GB" sz="1600" b="1" dirty="0" smtClean="0">
                <a:solidFill>
                  <a:schemeClr val="bg1"/>
                </a:solidFill>
              </a:rPr>
              <a:t>index for high level informat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81001" y="4619625"/>
            <a:ext cx="1333499" cy="762000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209550" y="-139700"/>
            <a:ext cx="8934450" cy="836613"/>
          </a:xfrm>
        </p:spPr>
        <p:txBody>
          <a:bodyPr/>
          <a:lstStyle/>
          <a:p>
            <a:r>
              <a:rPr lang="en-US" sz="2400" dirty="0" smtClean="0"/>
              <a:t>REASONS VARY, BUT GLOBAL R&amp;D INVESTMENTS ARE GROWING</a:t>
            </a:r>
          </a:p>
        </p:txBody>
      </p:sp>
      <p:pic>
        <p:nvPicPr>
          <p:cNvPr id="409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43013" y="914400"/>
            <a:ext cx="6661150" cy="1981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410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2819400"/>
            <a:ext cx="6662738" cy="33528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838200" y="6535738"/>
            <a:ext cx="45720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i="1"/>
              <a:t>The Race for Global Innovation</a:t>
            </a:r>
            <a:r>
              <a:rPr lang="en-US" sz="1000"/>
              <a:t>, Toronto Region Research Alliance, 2011</a:t>
            </a: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1066800" y="5526088"/>
            <a:ext cx="1905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/>
              <a:t>GERD</a:t>
            </a:r>
            <a:r>
              <a:rPr lang="en-US" sz="1200"/>
              <a:t> - Gross Expenditure on Research and Develop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PARE AUTHOR PERFORM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30</a:t>
            </a:fld>
            <a:endParaRPr lang="en-US" altLang="ja-JP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1816" y="1112520"/>
            <a:ext cx="8067343" cy="5067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5667376" y="2419350"/>
            <a:ext cx="2847974" cy="1219199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Compare the researcher against a top performing Turkish researcher in the same competency</a:t>
            </a:r>
            <a:endParaRPr lang="en-GB" sz="1600" b="1" dirty="0">
              <a:solidFill>
                <a:schemeClr val="bg1"/>
              </a:solidFill>
            </a:endParaRPr>
          </a:p>
        </p:txBody>
      </p:sp>
      <p:cxnSp>
        <p:nvCxnSpPr>
          <p:cNvPr id="9" name="Straight Arrow Connector 8"/>
          <p:cNvCxnSpPr>
            <a:stCxn id="6" idx="1"/>
          </p:cNvCxnSpPr>
          <p:nvPr/>
        </p:nvCxnSpPr>
        <p:spPr bwMode="auto">
          <a:xfrm rot="10800000" flipV="1">
            <a:off x="5953125" y="3986213"/>
            <a:ext cx="657226" cy="1204912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804B4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" name="Straight Arrow Connector 9"/>
          <p:cNvCxnSpPr>
            <a:stCxn id="7" idx="1"/>
          </p:cNvCxnSpPr>
          <p:nvPr/>
        </p:nvCxnSpPr>
        <p:spPr bwMode="auto">
          <a:xfrm rot="10800000" flipV="1">
            <a:off x="6457950" y="4529138"/>
            <a:ext cx="152400" cy="461962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6610351" y="3762375"/>
            <a:ext cx="1962149" cy="447675"/>
          </a:xfrm>
          <a:prstGeom prst="roundRect">
            <a:avLst/>
          </a:prstGeom>
          <a:solidFill>
            <a:srgbClr val="804B40"/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001">
            <a:schemeClr val="dk2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Ankara researcher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6610350" y="4305300"/>
            <a:ext cx="1971675" cy="447675"/>
          </a:xfrm>
          <a:prstGeom prst="roundRect">
            <a:avLst/>
          </a:prstGeom>
          <a:solidFill>
            <a:srgbClr val="FF0000"/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001">
            <a:schemeClr val="dk2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Harvard researcher</a:t>
            </a:r>
            <a:endParaRPr lang="en-GB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ITED VS UNCITED DOCU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31</a:t>
            </a:fld>
            <a:endParaRPr lang="en-US" altLang="ja-JP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319" y="1214770"/>
            <a:ext cx="8491569" cy="5353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3781425" y="2362201"/>
            <a:ext cx="3267075" cy="933450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Compare the quality of their work over time and link back to the source data in SciVerse Scopus</a:t>
            </a:r>
            <a:endParaRPr lang="en-GB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ND RESEARCHERS USING SCIVAL EXPER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32</a:t>
            </a:fld>
            <a:endParaRPr lang="en-US" altLang="ja-JP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0086" y="938784"/>
            <a:ext cx="6683829" cy="5614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752726" y="2228851"/>
            <a:ext cx="2952749" cy="1419224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Copy and paste the keywords from the competency into North Carolina’s SciVal Experts implementation, to find relevant researcher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362076" y="4572001"/>
            <a:ext cx="3209924" cy="457200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48975" y="6550223"/>
            <a:ext cx="32515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u="sng" dirty="0" smtClean="0">
                <a:solidFill>
                  <a:schemeClr val="tx2">
                    <a:lumMod val="75000"/>
                  </a:schemeClr>
                </a:solidFill>
              </a:rPr>
              <a:t>http://www.experts.scival.com/reachnc/</a:t>
            </a:r>
            <a:endParaRPr lang="en-US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IVAL EXPER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1D1007-CEE3-43A3-8F32-9475A880A0DA}" type="slidenum">
              <a:rPr lang="ja-JP" altLang="en-US" smtClean="0"/>
              <a:pPr>
                <a:defRPr/>
              </a:pPr>
              <a:t>33</a:t>
            </a:fld>
            <a:endParaRPr lang="en-US" altLang="ja-JP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8239" y="958136"/>
            <a:ext cx="6831489" cy="55645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638426" y="1609727"/>
            <a:ext cx="3248023" cy="942974"/>
          </a:xfrm>
          <a:prstGeom prst="roundRect">
            <a:avLst/>
          </a:prstGeom>
          <a:solidFill>
            <a:schemeClr val="bg2">
              <a:lumMod val="50000"/>
              <a:alpha val="93000"/>
            </a:schemeClr>
          </a:solidFill>
          <a:ln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88900" indent="-88900" algn="l">
              <a:spcBef>
                <a:spcPct val="50000"/>
              </a:spcBef>
              <a:defRPr/>
            </a:pPr>
            <a:r>
              <a:rPr lang="en-GB" sz="1600" b="1" dirty="0" smtClean="0">
                <a:solidFill>
                  <a:schemeClr val="bg1"/>
                </a:solidFill>
              </a:rPr>
              <a:t>Dig deeper to see further information about this researcher and who they work with</a:t>
            </a:r>
            <a:endParaRPr lang="en-GB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-36513" y="-315913"/>
            <a:ext cx="8353426" cy="936626"/>
          </a:xfrm>
        </p:spPr>
        <p:txBody>
          <a:bodyPr/>
          <a:lstStyle/>
          <a:p>
            <a:pPr marL="355600" indent="-355600" eaLnBrk="1" hangingPunct="1"/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/>
            </a:r>
            <a:b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</a:br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>BASE DATA FOR ANALYSIS - SCIVERSE “SCOPUS”</a:t>
            </a:r>
          </a:p>
        </p:txBody>
      </p:sp>
      <p:sp>
        <p:nvSpPr>
          <p:cNvPr id="57347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79F72397-14C2-49D2-8A05-E5E7F47812B1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/>
              <a:t>34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724275" y="969963"/>
            <a:ext cx="5140325" cy="545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800" indent="-177800" algn="l">
              <a:lnSpc>
                <a:spcPct val="110000"/>
              </a:lnSpc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800" b="1" kern="0" dirty="0" err="1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SciVerse</a:t>
            </a:r>
            <a:r>
              <a:rPr lang="en-US" sz="1800" b="1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 Scopus: </a:t>
            </a:r>
            <a:r>
              <a:rPr lang="en-US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The largest abstract and citation database of research information</a:t>
            </a:r>
            <a:r>
              <a:rPr lang="en-GB" sz="1800" b="1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 </a:t>
            </a:r>
          </a:p>
          <a:p>
            <a:pPr marL="177800" indent="-177800" algn="l">
              <a:lnSpc>
                <a:spcPct val="110000"/>
              </a:lnSpc>
              <a:buClr>
                <a:schemeClr val="tx2"/>
              </a:buClr>
              <a:buFont typeface="Arial" pitchFamily="34" charset="0"/>
              <a:buChar char="•"/>
              <a:defRPr/>
            </a:pPr>
            <a:endParaRPr lang="en-GB" sz="1800" b="1" kern="0" dirty="0">
              <a:solidFill>
                <a:srgbClr val="383838"/>
              </a:solidFill>
              <a:latin typeface="+mn-lt"/>
              <a:ea typeface="ＭＳ Ｐゴシック" pitchFamily="50" charset="-128"/>
            </a:endParaRPr>
          </a:p>
          <a:p>
            <a:pPr marL="177800" indent="-177800" algn="l">
              <a:lnSpc>
                <a:spcPct val="110000"/>
              </a:lnSpc>
              <a:buClr>
                <a:schemeClr val="tx2"/>
              </a:buClr>
              <a:buFont typeface="Times"/>
              <a:buNone/>
              <a:defRPr/>
            </a:pPr>
            <a:endParaRPr lang="en-GB" sz="1800" b="1" kern="0" dirty="0">
              <a:solidFill>
                <a:srgbClr val="383838"/>
              </a:solidFill>
              <a:latin typeface="+mn-lt"/>
              <a:ea typeface="ＭＳ Ｐゴシック" pitchFamily="50" charset="-128"/>
            </a:endParaRPr>
          </a:p>
          <a:p>
            <a:pPr marL="177800" indent="-177800" algn="l">
              <a:lnSpc>
                <a:spcPct val="110000"/>
              </a:lnSpc>
              <a:buClr>
                <a:schemeClr val="tx2"/>
              </a:buClr>
              <a:buFont typeface="Times" pitchFamily="18" charset="0"/>
              <a:buChar char="•"/>
              <a:defRPr/>
            </a:pPr>
            <a:r>
              <a:rPr lang="en-GB" sz="1800" b="1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18,000+</a:t>
            </a: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 active titles from more than </a:t>
            </a:r>
            <a:r>
              <a:rPr lang="en-GB" sz="1800" b="1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5,000</a:t>
            </a: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 international publishers </a:t>
            </a:r>
            <a:r>
              <a:rPr lang="en-US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including coverage of:</a:t>
            </a:r>
          </a:p>
          <a:p>
            <a:pPr marL="177800" indent="-177800" algn="l">
              <a:lnSpc>
                <a:spcPct val="110000"/>
              </a:lnSpc>
              <a:buClr>
                <a:schemeClr val="tx2"/>
              </a:buClr>
              <a:defRPr/>
            </a:pPr>
            <a:endParaRPr lang="en-US" sz="1050" kern="0" dirty="0">
              <a:solidFill>
                <a:srgbClr val="383838"/>
              </a:solidFill>
              <a:latin typeface="+mn-lt"/>
              <a:ea typeface="ＭＳ Ｐゴシック" pitchFamily="50" charset="-128"/>
            </a:endParaRP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Life Sciences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Health Sciences 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Physical Sciences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GB" sz="1800" kern="0" dirty="0">
                <a:solidFill>
                  <a:srgbClr val="383838"/>
                </a:solidFill>
                <a:latin typeface="+mn-lt"/>
                <a:ea typeface="ＭＳ Ｐゴシック" pitchFamily="50" charset="-128"/>
              </a:rPr>
              <a:t>Social Sciences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kern="0" dirty="0">
                <a:solidFill>
                  <a:srgbClr val="383838"/>
                </a:solidFill>
                <a:latin typeface="+mn-lt"/>
              </a:rPr>
              <a:t>Arts and Humanities</a:t>
            </a:r>
          </a:p>
          <a:p>
            <a:pPr marL="431800" lvl="3" indent="-177800" algn="l">
              <a:lnSpc>
                <a:spcPct val="110000"/>
              </a:lnSpc>
              <a:buClr>
                <a:schemeClr val="accent1"/>
              </a:buClr>
              <a:defRPr/>
            </a:pPr>
            <a:endParaRPr lang="en-US" sz="1050" kern="0" dirty="0">
              <a:solidFill>
                <a:srgbClr val="383838"/>
              </a:solidFill>
              <a:latin typeface="+mn-lt"/>
            </a:endParaRPr>
          </a:p>
          <a:p>
            <a:pPr marL="177800" indent="-177800" algn="l">
              <a:lnSpc>
                <a:spcPct val="110000"/>
              </a:lnSpc>
              <a:buClr>
                <a:schemeClr val="tx2"/>
              </a:buClr>
              <a:buFont typeface="Times" pitchFamily="18" charset="0"/>
              <a:buChar char="•"/>
              <a:defRPr/>
            </a:pPr>
            <a:r>
              <a:rPr lang="en-GB" sz="1800" kern="0" dirty="0">
                <a:solidFill>
                  <a:srgbClr val="383838"/>
                </a:solidFill>
                <a:latin typeface="+mn-lt"/>
              </a:rPr>
              <a:t>Independent </a:t>
            </a:r>
            <a:r>
              <a:rPr lang="en-GB" sz="1800" b="1" kern="0" dirty="0">
                <a:solidFill>
                  <a:srgbClr val="383838"/>
                </a:solidFill>
                <a:latin typeface="+mn-lt"/>
              </a:rPr>
              <a:t>journal metrics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b="1" kern="0" dirty="0">
                <a:latin typeface="+mn-lt"/>
              </a:rPr>
              <a:t>SNIP</a:t>
            </a:r>
            <a:r>
              <a:rPr lang="en-US" sz="1800" kern="0" dirty="0">
                <a:latin typeface="+mn-lt"/>
              </a:rPr>
              <a:t>: The Source-Normalized Impact per Paper corrects for differences in the frequency of citation across research fields.</a:t>
            </a:r>
          </a:p>
          <a:p>
            <a:pPr marL="889000" lvl="4" indent="-177800" algn="l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GB" sz="1800" b="1" kern="0" dirty="0">
                <a:solidFill>
                  <a:srgbClr val="383838"/>
                </a:solidFill>
                <a:latin typeface="+mn-lt"/>
              </a:rPr>
              <a:t>SJR</a:t>
            </a:r>
            <a:r>
              <a:rPr lang="en-GB" sz="1800" kern="0" dirty="0">
                <a:solidFill>
                  <a:srgbClr val="383838"/>
                </a:solidFill>
                <a:latin typeface="+mn-lt"/>
              </a:rPr>
              <a:t>: The </a:t>
            </a:r>
            <a:r>
              <a:rPr lang="en-US" sz="1800" kern="0" dirty="0" err="1">
                <a:latin typeface="+mn-lt"/>
              </a:rPr>
              <a:t>SCImago</a:t>
            </a:r>
            <a:r>
              <a:rPr lang="en-US" sz="1800" kern="0" dirty="0">
                <a:latin typeface="+mn-lt"/>
              </a:rPr>
              <a:t> Journal Rank reflects prestige of source - value of weighted citations per document.</a:t>
            </a:r>
            <a:endParaRPr lang="en-US" sz="1800" kern="0" dirty="0">
              <a:solidFill>
                <a:srgbClr val="383838"/>
              </a:solidFill>
              <a:latin typeface="+mn-lt"/>
            </a:endParaRPr>
          </a:p>
        </p:txBody>
      </p:sp>
      <p:pic>
        <p:nvPicPr>
          <p:cNvPr id="7" name="Picture 4" descr="769450_skyscraper_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806" y="974708"/>
            <a:ext cx="3429024" cy="52221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12" descr="ifq_new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724004" y="3475038"/>
            <a:ext cx="1373188" cy="857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13" descr="KISTI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09558" y="4403732"/>
            <a:ext cx="1692275" cy="8651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14" descr="perspektywy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23938" y="5475302"/>
            <a:ext cx="1517650" cy="3825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5" descr="oECD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66682" y="2617782"/>
            <a:ext cx="1806575" cy="663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6" descr="qs_logo_combined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295508" y="2046278"/>
            <a:ext cx="792162" cy="742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7" descr="cwTS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52434" y="1546212"/>
            <a:ext cx="1363663" cy="820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940424" y="1641624"/>
            <a:ext cx="2392363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2A73E665-7BC6-446F-BBB4-7774C62DA3E1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/>
              <a:t>35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11264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0"/>
            <a:ext cx="8353425" cy="836613"/>
          </a:xfrm>
        </p:spPr>
        <p:txBody>
          <a:bodyPr/>
          <a:lstStyle/>
          <a:p>
            <a:pPr marL="355600" indent="-355600" eaLnBrk="1" hangingPunct="1"/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>ELSEVIER</a:t>
            </a:r>
            <a:b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</a:br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>VARIOUS “SOLUTIONS” FOR VARIOUS “CHALLENGES”</a:t>
            </a:r>
          </a:p>
        </p:txBody>
      </p:sp>
      <p:sp>
        <p:nvSpPr>
          <p:cNvPr id="6" name="TextBox 4"/>
          <p:cNvSpPr txBox="1"/>
          <p:nvPr/>
        </p:nvSpPr>
        <p:spPr>
          <a:xfrm>
            <a:off x="495300" y="5708650"/>
            <a:ext cx="2952750" cy="871538"/>
          </a:xfrm>
          <a:prstGeom prst="homePlat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sz="1600" b="1" dirty="0">
                <a:cs typeface="Arial" pitchFamily="34" charset="0"/>
              </a:rPr>
              <a:t>Various analysis on your own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7" name="TextBox 13"/>
          <p:cNvSpPr txBox="1"/>
          <p:nvPr/>
        </p:nvSpPr>
        <p:spPr>
          <a:xfrm>
            <a:off x="495300" y="1731963"/>
            <a:ext cx="2957513" cy="871537"/>
          </a:xfrm>
          <a:prstGeom prst="homePlat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sz="1600" b="1" dirty="0">
                <a:cs typeface="Arial" pitchFamily="34" charset="0"/>
              </a:rPr>
              <a:t>Need to Identify Strengths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8" name="TextBox 19"/>
          <p:cNvSpPr txBox="1"/>
          <p:nvPr/>
        </p:nvSpPr>
        <p:spPr>
          <a:xfrm>
            <a:off x="495300" y="3686175"/>
            <a:ext cx="2952750" cy="871538"/>
          </a:xfrm>
          <a:prstGeom prst="homePlat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sz="1600" b="1" dirty="0">
                <a:cs typeface="Arial" pitchFamily="34" charset="0"/>
              </a:rPr>
              <a:t>Benchmarking Performance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495300" y="4692650"/>
            <a:ext cx="2952750" cy="871538"/>
          </a:xfrm>
          <a:prstGeom prst="homePlat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sz="1600" b="1" dirty="0">
                <a:cs typeface="Arial" pitchFamily="34" charset="0"/>
              </a:rPr>
              <a:t>Identifying Funding</a:t>
            </a:r>
            <a:br>
              <a:rPr lang="en-GB" sz="1600" b="1" dirty="0">
                <a:cs typeface="Arial" pitchFamily="34" charset="0"/>
              </a:rPr>
            </a:br>
            <a:r>
              <a:rPr lang="en-GB" sz="1600" b="1" dirty="0">
                <a:cs typeface="Arial" pitchFamily="34" charset="0"/>
              </a:rPr>
              <a:t>Opportunities Effectively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495300" y="2709863"/>
            <a:ext cx="2952750" cy="869950"/>
          </a:xfrm>
          <a:prstGeom prst="homePlat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sz="1600" b="1" dirty="0">
                <a:cs typeface="Arial" pitchFamily="34" charset="0"/>
              </a:rPr>
              <a:t>Encouraging “Collaborations”</a:t>
            </a:r>
            <a:endParaRPr lang="en-US" sz="1600" b="1" dirty="0">
              <a:cs typeface="Arial" pitchFamily="34" charset="0"/>
            </a:endParaRPr>
          </a:p>
        </p:txBody>
      </p:sp>
      <p:sp>
        <p:nvSpPr>
          <p:cNvPr id="13" name="TextBox 4"/>
          <p:cNvSpPr txBox="1"/>
          <p:nvPr/>
        </p:nvSpPr>
        <p:spPr>
          <a:xfrm>
            <a:off x="3797300" y="5692775"/>
            <a:ext cx="2952750" cy="869950"/>
          </a:xfrm>
          <a:prstGeom prst="roundRect">
            <a:avLst/>
          </a:prstGeom>
          <a:solidFill>
            <a:srgbClr val="333399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opus Custom Data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97300" y="1714500"/>
            <a:ext cx="2957513" cy="871538"/>
          </a:xfrm>
          <a:prstGeom prst="roundRect">
            <a:avLst/>
          </a:prstGeom>
          <a:solidFill>
            <a:srgbClr val="333399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iVal</a:t>
            </a: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potlight</a:t>
            </a:r>
            <a:b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Country, Institutional Map)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9"/>
          <p:cNvSpPr txBox="1"/>
          <p:nvPr/>
        </p:nvSpPr>
        <p:spPr>
          <a:xfrm>
            <a:off x="3797300" y="3670300"/>
            <a:ext cx="2952750" cy="869950"/>
          </a:xfrm>
          <a:prstGeom prst="roundRect">
            <a:avLst/>
          </a:prstGeom>
          <a:solidFill>
            <a:srgbClr val="333399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iVal</a:t>
            </a: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trata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97300" y="4676775"/>
            <a:ext cx="2952750" cy="871538"/>
          </a:xfrm>
          <a:prstGeom prst="roundRect">
            <a:avLst/>
          </a:prstGeom>
          <a:solidFill>
            <a:srgbClr val="333399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iVal</a:t>
            </a: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Funding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7"/>
          <p:cNvSpPr txBox="1"/>
          <p:nvPr/>
        </p:nvSpPr>
        <p:spPr>
          <a:xfrm>
            <a:off x="3797300" y="2692400"/>
            <a:ext cx="2952750" cy="871538"/>
          </a:xfrm>
          <a:prstGeom prst="roundRect">
            <a:avLst/>
          </a:prstGeom>
          <a:solidFill>
            <a:srgbClr val="333399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anchor="ctr"/>
          <a:lstStyle/>
          <a:p>
            <a:pPr algn="ctr">
              <a:lnSpc>
                <a:spcPct val="100000"/>
              </a:lnSpc>
              <a:defRPr/>
            </a:pPr>
            <a:r>
              <a:rPr lang="en-GB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iVal</a:t>
            </a: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xperts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5" descr="Slide 25_Australia circle map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10388" y="1600200"/>
            <a:ext cx="1230312" cy="1031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04175" y="2660650"/>
            <a:ext cx="1076325" cy="89693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10388" y="3632200"/>
            <a:ext cx="1268412" cy="977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78738" y="4794250"/>
            <a:ext cx="1401762" cy="720725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3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4825" y="989013"/>
            <a:ext cx="26320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altLang="ja-JP" sz="1600" b="1" dirty="0">
                <a:latin typeface="Arial" pitchFamily="34" charset="0"/>
                <a:cs typeface="Arial" pitchFamily="34" charset="0"/>
              </a:rPr>
              <a:t>Challenges</a:t>
            </a:r>
            <a:endParaRPr lang="ja-JP" altLang="en-US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32224" y="989013"/>
            <a:ext cx="2955600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altLang="ja-JP" sz="1600" b="1" dirty="0">
                <a:latin typeface="Arial" pitchFamily="34" charset="0"/>
                <a:cs typeface="Arial" pitchFamily="34" charset="0"/>
              </a:rPr>
              <a:t>Solutions</a:t>
            </a:r>
            <a:endParaRPr lang="ja-JP" altLang="en-US" sz="16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88913"/>
            <a:ext cx="8353425" cy="576262"/>
          </a:xfrm>
        </p:spPr>
        <p:txBody>
          <a:bodyPr/>
          <a:lstStyle/>
          <a:p>
            <a:pPr eaLnBrk="1" hangingPunct="1"/>
            <a:r>
              <a:rPr lang="en-US" altLang="ja-JP" sz="2800" smtClean="0">
                <a:ea typeface="ＭＳ Ｐゴシック" charset="-128"/>
              </a:rPr>
              <a:t>Summary</a:t>
            </a: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538163" indent="-538163" eaLnBrk="1" hangingPunct="1">
              <a:lnSpc>
                <a:spcPct val="95000"/>
              </a:lnSpc>
              <a:spcBef>
                <a:spcPct val="20000"/>
              </a:spcBef>
              <a:buClr>
                <a:srgbClr val="333399"/>
              </a:buClr>
              <a:buSzPct val="60000"/>
              <a:buFont typeface="Wingdings" pitchFamily="2" charset="2"/>
              <a:buChar char="l"/>
            </a:pPr>
            <a:r>
              <a:rPr lang="en-US" altLang="ja-JP" smtClean="0">
                <a:ea typeface="ＭＳ Ｐゴシック" charset="-128"/>
              </a:rPr>
              <a:t>Measuring research performance is getting more and more challenging</a:t>
            </a:r>
          </a:p>
          <a:p>
            <a:pPr marL="1252538" lvl="1" indent="-350838" eaLnBrk="1" hangingPunct="1">
              <a:lnSpc>
                <a:spcPct val="95000"/>
              </a:lnSpc>
              <a:buClr>
                <a:srgbClr val="333399"/>
              </a:buClr>
              <a:buSzPct val="60000"/>
              <a:buFont typeface="Wingdings" pitchFamily="2" charset="2"/>
              <a:buChar char="l"/>
            </a:pPr>
            <a:r>
              <a:rPr lang="en-US" altLang="ja-JP" smtClean="0">
                <a:ea typeface="ＭＳ Ｐゴシック" charset="-128"/>
              </a:rPr>
              <a:t>Due to factors such as; emerging multi-disciplinary research, </a:t>
            </a:r>
            <a:br>
              <a:rPr lang="en-US" altLang="ja-JP" smtClean="0">
                <a:ea typeface="ＭＳ Ｐゴシック" charset="-128"/>
              </a:rPr>
            </a:br>
            <a:r>
              <a:rPr lang="en-US" altLang="ja-JP" smtClean="0">
                <a:ea typeface="ＭＳ Ｐゴシック" charset="-128"/>
              </a:rPr>
              <a:t>research activities conducted at a granular level</a:t>
            </a:r>
          </a:p>
          <a:p>
            <a:pPr marL="538163" indent="-538163" eaLnBrk="1" hangingPunct="1">
              <a:lnSpc>
                <a:spcPct val="95000"/>
              </a:lnSpc>
              <a:spcBef>
                <a:spcPct val="20000"/>
              </a:spcBef>
              <a:buClr>
                <a:srgbClr val="333399"/>
              </a:buClr>
              <a:buSzPct val="60000"/>
              <a:buFont typeface="Wingdings" pitchFamily="2" charset="2"/>
              <a:buChar char="l"/>
            </a:pPr>
            <a:endParaRPr lang="en-US" altLang="ja-JP" smtClean="0">
              <a:ea typeface="ＭＳ Ｐゴシック" charset="-128"/>
            </a:endParaRPr>
          </a:p>
          <a:p>
            <a:pPr marL="538163" indent="-538163" eaLnBrk="1" hangingPunct="1">
              <a:lnSpc>
                <a:spcPct val="95000"/>
              </a:lnSpc>
              <a:spcBef>
                <a:spcPct val="20000"/>
              </a:spcBef>
              <a:buClr>
                <a:srgbClr val="333399"/>
              </a:buClr>
              <a:buSzPct val="60000"/>
              <a:buFont typeface="Wingdings" pitchFamily="2" charset="2"/>
              <a:buChar char="l"/>
            </a:pPr>
            <a:r>
              <a:rPr lang="en-US" altLang="ja-JP" smtClean="0">
                <a:ea typeface="ＭＳ Ｐゴシック" charset="-128"/>
              </a:rPr>
              <a:t>Combination of traditional metrics and new methodology can provide</a:t>
            </a:r>
            <a:br>
              <a:rPr lang="en-US" altLang="ja-JP" smtClean="0">
                <a:ea typeface="ＭＳ Ｐゴシック" charset="-128"/>
              </a:rPr>
            </a:br>
            <a:r>
              <a:rPr lang="en-US" altLang="ja-JP" smtClean="0">
                <a:ea typeface="ＭＳ Ｐゴシック" charset="-128"/>
              </a:rPr>
              <a:t>various insight to research performance</a:t>
            </a:r>
          </a:p>
          <a:p>
            <a:pPr marL="1252538" lvl="1" indent="-350838" eaLnBrk="1" hangingPunct="1">
              <a:lnSpc>
                <a:spcPct val="95000"/>
              </a:lnSpc>
              <a:buClr>
                <a:srgbClr val="333399"/>
              </a:buClr>
              <a:buSzPct val="60000"/>
              <a:buFont typeface="Wingdings" pitchFamily="2" charset="2"/>
              <a:buChar char="l"/>
            </a:pPr>
            <a:r>
              <a:rPr lang="en-US" altLang="ja-JP" smtClean="0">
                <a:ea typeface="ＭＳ Ｐゴシック" charset="-128"/>
              </a:rPr>
              <a:t>Evaluate whether past investments has contributed to </a:t>
            </a:r>
            <a:br>
              <a:rPr lang="en-US" altLang="ja-JP" smtClean="0">
                <a:ea typeface="ＭＳ Ｐゴシック" charset="-128"/>
              </a:rPr>
            </a:br>
            <a:r>
              <a:rPr lang="en-US" altLang="ja-JP" smtClean="0">
                <a:ea typeface="ＭＳ Ｐゴシック" charset="-128"/>
              </a:rPr>
              <a:t>the creation of a national level competency</a:t>
            </a:r>
          </a:p>
          <a:p>
            <a:pPr marL="1252538" lvl="1" indent="-350838" eaLnBrk="1" hangingPunct="1">
              <a:lnSpc>
                <a:spcPct val="95000"/>
              </a:lnSpc>
              <a:buClr>
                <a:srgbClr val="333399"/>
              </a:buClr>
              <a:buSzPct val="60000"/>
              <a:buFont typeface="Wingdings" pitchFamily="2" charset="2"/>
              <a:buChar char="l"/>
            </a:pPr>
            <a:r>
              <a:rPr lang="en-US" altLang="ja-JP" smtClean="0">
                <a:ea typeface="ＭＳ Ｐゴシック" charset="-128"/>
              </a:rPr>
              <a:t>Identify emerging areas to focus going forward</a:t>
            </a:r>
          </a:p>
          <a:p>
            <a:pPr marL="538163" indent="-538163" eaLnBrk="1" hangingPunct="1">
              <a:lnSpc>
                <a:spcPct val="95000"/>
              </a:lnSpc>
              <a:spcBef>
                <a:spcPct val="20000"/>
              </a:spcBef>
              <a:buClr>
                <a:srgbClr val="333399"/>
              </a:buClr>
              <a:buSzPct val="60000"/>
              <a:buFont typeface="Times" pitchFamily="18" charset="0"/>
              <a:buNone/>
            </a:pPr>
            <a:endParaRPr lang="en-US" altLang="ja-JP" smtClean="0">
              <a:ea typeface="ＭＳ Ｐゴシック" charset="-128"/>
            </a:endParaRPr>
          </a:p>
        </p:txBody>
      </p:sp>
      <p:pic>
        <p:nvPicPr>
          <p:cNvPr id="39940" name="Picture 4" descr="Scopu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5450" y="6237288"/>
            <a:ext cx="2093913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96188" y="3141663"/>
            <a:ext cx="1225550" cy="10318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</p:pic>
      <p:pic>
        <p:nvPicPr>
          <p:cNvPr id="39942" name="Picture 7" descr="mountain to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7938" y="-7938"/>
            <a:ext cx="9151938" cy="686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6"/>
          <p:cNvSpPr/>
          <p:nvPr/>
        </p:nvSpPr>
        <p:spPr bwMode="auto">
          <a:xfrm>
            <a:off x="1769423" y="285008"/>
            <a:ext cx="5747658" cy="819397"/>
          </a:xfrm>
          <a:prstGeom prst="round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ct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r>
              <a:rPr kumimoji="0" lang="en-GB" sz="66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Calibri" pitchFamily="34" charset="0"/>
              </a:rPr>
              <a:t>Thank</a:t>
            </a:r>
            <a:r>
              <a:rPr kumimoji="0" lang="en-GB" sz="6600" b="1" i="0" u="none" strike="noStrike" cap="none" normalizeH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Calibri" pitchFamily="34" charset="0"/>
              </a:rPr>
              <a:t> You</a:t>
            </a:r>
            <a:endParaRPr kumimoji="0" lang="en-US" sz="6600" b="1" i="0" u="none" strike="noStrike" cap="none" normalizeH="0" baseline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395288" y="-139700"/>
            <a:ext cx="8353425" cy="836613"/>
          </a:xfrm>
        </p:spPr>
        <p:txBody>
          <a:bodyPr/>
          <a:lstStyle/>
          <a:p>
            <a:pPr eaLnBrk="1" hangingPunct="1"/>
            <a:r>
              <a:rPr lang="en-US" dirty="0" smtClean="0"/>
              <a:t>THE POWER OF R&amp;D INVESTMENTS – AN EXAMPLE</a:t>
            </a:r>
          </a:p>
        </p:txBody>
      </p:sp>
      <p:pic>
        <p:nvPicPr>
          <p:cNvPr id="512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71600" y="838200"/>
            <a:ext cx="5867400" cy="5465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5124" name="Rectangle 4"/>
          <p:cNvSpPr>
            <a:spLocks noChangeArrowheads="1"/>
          </p:cNvSpPr>
          <p:nvPr/>
        </p:nvSpPr>
        <p:spPr bwMode="auto">
          <a:xfrm>
            <a:off x="1219200" y="6400800"/>
            <a:ext cx="68580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Council for Chemical Research. 2009. Chemical R&amp;D Powers the U.S. Innovation Engine. Washington, DC. Courtesy of the Council for Chemical Research. In Katy Börner &amp; Elisha F. Hardy (Eds.), 5th Iteration (2009): Science Maps for Science Policy Makers, </a:t>
            </a:r>
            <a:r>
              <a:rPr lang="en-US" sz="800" i="1"/>
              <a:t>Places and Spaces: Mapping Science.</a:t>
            </a:r>
            <a:r>
              <a:rPr lang="en-US" sz="800"/>
              <a:t> http://scimaps.org (accessed 5/21/2010).</a:t>
            </a:r>
          </a:p>
        </p:txBody>
      </p:sp>
      <p:sp>
        <p:nvSpPr>
          <p:cNvPr id="5125" name="Oval 4"/>
          <p:cNvSpPr>
            <a:spLocks noChangeArrowheads="1"/>
          </p:cNvSpPr>
          <p:nvPr/>
        </p:nvSpPr>
        <p:spPr bwMode="auto">
          <a:xfrm>
            <a:off x="1295400" y="2667000"/>
            <a:ext cx="1219200" cy="762000"/>
          </a:xfrm>
          <a:prstGeom prst="ellipse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/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>
              <a:latin typeface="Calibri" pitchFamily="34" charset="0"/>
            </a:endParaRPr>
          </a:p>
        </p:txBody>
      </p:sp>
      <p:sp>
        <p:nvSpPr>
          <p:cNvPr id="5126" name="Oval 5"/>
          <p:cNvSpPr>
            <a:spLocks noChangeArrowheads="1"/>
          </p:cNvSpPr>
          <p:nvPr/>
        </p:nvSpPr>
        <p:spPr bwMode="auto">
          <a:xfrm>
            <a:off x="4495800" y="4572000"/>
            <a:ext cx="1219200" cy="1447800"/>
          </a:xfrm>
          <a:prstGeom prst="ellipse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/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333375" y="896938"/>
            <a:ext cx="8048625" cy="474662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r>
              <a:rPr lang="en-US" sz="2800" b="1" smtClean="0"/>
              <a:t>Increasing Collaboration</a:t>
            </a:r>
          </a:p>
        </p:txBody>
      </p:sp>
      <p:pic>
        <p:nvPicPr>
          <p:cNvPr id="717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0" y="1371600"/>
            <a:ext cx="5546725" cy="51101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717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524000"/>
            <a:ext cx="1485900" cy="2819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7174" name="Rectangle 7"/>
          <p:cNvSpPr>
            <a:spLocks noChangeArrowheads="1"/>
          </p:cNvSpPr>
          <p:nvPr/>
        </p:nvSpPr>
        <p:spPr bwMode="auto">
          <a:xfrm>
            <a:off x="685800" y="6519863"/>
            <a:ext cx="32766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Knowledge, Networks and Nations: Global scientific collaboration in the 21st century, The Royal Society, 2011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228600" y="-85725"/>
            <a:ext cx="872490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S INVESTMENT IN RESEARCH EVOLVES, SO DOES THE LANDSCAPE…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7"/>
          <p:cNvGrpSpPr/>
          <p:nvPr/>
        </p:nvGrpSpPr>
        <p:grpSpPr>
          <a:xfrm>
            <a:off x="137455" y="1044188"/>
            <a:ext cx="8368714" cy="5536535"/>
            <a:chOff x="125580" y="1020438"/>
            <a:chExt cx="8368714" cy="5536535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 cstate="email"/>
            <a:srcRect/>
            <a:stretch>
              <a:fillRect/>
            </a:stretch>
          </p:blipFill>
          <p:spPr bwMode="auto">
            <a:xfrm>
              <a:off x="125580" y="1039486"/>
              <a:ext cx="1914525" cy="547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1698921" y="1027705"/>
              <a:ext cx="1390650" cy="552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3070305" y="1032464"/>
              <a:ext cx="1343025" cy="5514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1" name="Picture 5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4420371" y="1027710"/>
              <a:ext cx="1362075" cy="552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2" name="Picture 6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5787256" y="1022948"/>
              <a:ext cx="1371600" cy="5534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3" name="Picture 7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7122694" y="1020438"/>
              <a:ext cx="1371600" cy="5514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8313" y="-27384"/>
            <a:ext cx="8229600" cy="706438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New global leaders are emerging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62"/>
          <p:cNvGrpSpPr/>
          <p:nvPr/>
        </p:nvGrpSpPr>
        <p:grpSpPr>
          <a:xfrm>
            <a:off x="1010656" y="4860764"/>
            <a:ext cx="6075944" cy="1552074"/>
            <a:chOff x="1010656" y="4860764"/>
            <a:chExt cx="6075944" cy="1552074"/>
          </a:xfrm>
        </p:grpSpPr>
        <p:cxnSp>
          <p:nvCxnSpPr>
            <p:cNvPr id="13" name="Straight Arrow Connector 12"/>
            <p:cNvCxnSpPr/>
            <p:nvPr/>
          </p:nvCxnSpPr>
          <p:spPr bwMode="auto">
            <a:xfrm flipV="1">
              <a:off x="1010656" y="5799229"/>
              <a:ext cx="661733" cy="613609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" name="Straight Arrow Connector 14"/>
            <p:cNvCxnSpPr/>
            <p:nvPr/>
          </p:nvCxnSpPr>
          <p:spPr bwMode="auto">
            <a:xfrm flipV="1">
              <a:off x="2354189" y="5558596"/>
              <a:ext cx="677769" cy="22459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7" name="Straight Arrow Connector 16"/>
            <p:cNvCxnSpPr/>
            <p:nvPr/>
          </p:nvCxnSpPr>
          <p:spPr bwMode="auto">
            <a:xfrm flipV="1">
              <a:off x="3713757" y="5342027"/>
              <a:ext cx="677769" cy="22459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8" name="Straight Arrow Connector 17"/>
            <p:cNvCxnSpPr/>
            <p:nvPr/>
          </p:nvCxnSpPr>
          <p:spPr bwMode="auto">
            <a:xfrm flipV="1">
              <a:off x="5097389" y="5113427"/>
              <a:ext cx="677769" cy="22459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9" name="Straight Arrow Connector 18"/>
            <p:cNvCxnSpPr/>
            <p:nvPr/>
          </p:nvCxnSpPr>
          <p:spPr bwMode="auto">
            <a:xfrm flipV="1">
              <a:off x="6408831" y="4860764"/>
              <a:ext cx="677769" cy="22459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4" name="Group 56"/>
          <p:cNvGrpSpPr/>
          <p:nvPr/>
        </p:nvGrpSpPr>
        <p:grpSpPr>
          <a:xfrm>
            <a:off x="1275350" y="3581408"/>
            <a:ext cx="5871408" cy="677779"/>
            <a:chOff x="1275350" y="3581408"/>
            <a:chExt cx="5871408" cy="677779"/>
          </a:xfrm>
        </p:grpSpPr>
        <p:cxnSp>
          <p:nvCxnSpPr>
            <p:cNvPr id="20" name="Straight Arrow Connector 19"/>
            <p:cNvCxnSpPr/>
            <p:nvPr/>
          </p:nvCxnSpPr>
          <p:spPr bwMode="auto">
            <a:xfrm flipV="1">
              <a:off x="1275350" y="3994491"/>
              <a:ext cx="433134" cy="26469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2" name="Straight Arrow Connector 21"/>
            <p:cNvCxnSpPr/>
            <p:nvPr/>
          </p:nvCxnSpPr>
          <p:spPr bwMode="auto">
            <a:xfrm>
              <a:off x="2679042" y="4026576"/>
              <a:ext cx="401042" cy="401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3" name="Straight Arrow Connector 22"/>
            <p:cNvCxnSpPr/>
            <p:nvPr/>
          </p:nvCxnSpPr>
          <p:spPr bwMode="auto">
            <a:xfrm flipV="1">
              <a:off x="3994487" y="3777923"/>
              <a:ext cx="433134" cy="26469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5" name="Straight Arrow Connector 24"/>
            <p:cNvCxnSpPr/>
            <p:nvPr/>
          </p:nvCxnSpPr>
          <p:spPr bwMode="auto">
            <a:xfrm flipV="1">
              <a:off x="5350052" y="3585417"/>
              <a:ext cx="425106" cy="200528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7" name="Straight Arrow Connector 26"/>
            <p:cNvCxnSpPr/>
            <p:nvPr/>
          </p:nvCxnSpPr>
          <p:spPr bwMode="auto">
            <a:xfrm>
              <a:off x="6745715" y="3581408"/>
              <a:ext cx="401043" cy="4009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6" name="Group 58"/>
          <p:cNvGrpSpPr/>
          <p:nvPr/>
        </p:nvGrpSpPr>
        <p:grpSpPr>
          <a:xfrm>
            <a:off x="950498" y="3814018"/>
            <a:ext cx="6172197" cy="1323473"/>
            <a:chOff x="950498" y="3814018"/>
            <a:chExt cx="6172197" cy="1323473"/>
          </a:xfrm>
        </p:grpSpPr>
        <p:cxnSp>
          <p:nvCxnSpPr>
            <p:cNvPr id="29" name="Straight Arrow Connector 28"/>
            <p:cNvCxnSpPr/>
            <p:nvPr/>
          </p:nvCxnSpPr>
          <p:spPr bwMode="auto">
            <a:xfrm>
              <a:off x="950498" y="4692323"/>
              <a:ext cx="733923" cy="445168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1" name="Straight Arrow Connector 30"/>
            <p:cNvCxnSpPr/>
            <p:nvPr/>
          </p:nvCxnSpPr>
          <p:spPr bwMode="auto">
            <a:xfrm flipV="1">
              <a:off x="2286003" y="4692323"/>
              <a:ext cx="757986" cy="433137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3" name="Straight Arrow Connector 32"/>
            <p:cNvCxnSpPr/>
            <p:nvPr/>
          </p:nvCxnSpPr>
          <p:spPr bwMode="auto">
            <a:xfrm flipV="1">
              <a:off x="3633539" y="4680291"/>
              <a:ext cx="757987" cy="12033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5" name="Straight Arrow Connector 34"/>
            <p:cNvCxnSpPr/>
            <p:nvPr/>
          </p:nvCxnSpPr>
          <p:spPr bwMode="auto">
            <a:xfrm flipV="1">
              <a:off x="5005139" y="4259186"/>
              <a:ext cx="745956" cy="40907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7" name="Straight Arrow Connector 36"/>
            <p:cNvCxnSpPr/>
            <p:nvPr/>
          </p:nvCxnSpPr>
          <p:spPr bwMode="auto">
            <a:xfrm flipV="1">
              <a:off x="6376739" y="3814018"/>
              <a:ext cx="745956" cy="40907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7" name="Group 52"/>
          <p:cNvGrpSpPr/>
          <p:nvPr/>
        </p:nvGrpSpPr>
        <p:grpSpPr>
          <a:xfrm>
            <a:off x="950497" y="1371607"/>
            <a:ext cx="6184229" cy="878307"/>
            <a:chOff x="950497" y="1371607"/>
            <a:chExt cx="6184229" cy="878307"/>
          </a:xfrm>
        </p:grpSpPr>
        <p:cxnSp>
          <p:nvCxnSpPr>
            <p:cNvPr id="40" name="Straight Arrow Connector 39"/>
            <p:cNvCxnSpPr/>
            <p:nvPr/>
          </p:nvCxnSpPr>
          <p:spPr bwMode="auto">
            <a:xfrm flipV="1">
              <a:off x="950497" y="2057407"/>
              <a:ext cx="709861" cy="192507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2" name="Straight Arrow Connector 41"/>
            <p:cNvCxnSpPr/>
            <p:nvPr/>
          </p:nvCxnSpPr>
          <p:spPr bwMode="auto">
            <a:xfrm flipV="1">
              <a:off x="2286002" y="2057407"/>
              <a:ext cx="757987" cy="12034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4" name="Straight Arrow Connector 43"/>
            <p:cNvCxnSpPr/>
            <p:nvPr/>
          </p:nvCxnSpPr>
          <p:spPr bwMode="auto">
            <a:xfrm flipV="1">
              <a:off x="3669634" y="1407701"/>
              <a:ext cx="709861" cy="649709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6" name="Straight Arrow Connector 45"/>
            <p:cNvCxnSpPr/>
            <p:nvPr/>
          </p:nvCxnSpPr>
          <p:spPr bwMode="auto">
            <a:xfrm flipV="1">
              <a:off x="5005139" y="1383638"/>
              <a:ext cx="757987" cy="12034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7" name="Straight Arrow Connector 46"/>
            <p:cNvCxnSpPr/>
            <p:nvPr/>
          </p:nvCxnSpPr>
          <p:spPr bwMode="auto">
            <a:xfrm flipV="1">
              <a:off x="6376739" y="1371607"/>
              <a:ext cx="757987" cy="12034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8" name="Group 55"/>
          <p:cNvGrpSpPr/>
          <p:nvPr/>
        </p:nvGrpSpPr>
        <p:grpSpPr>
          <a:xfrm>
            <a:off x="962529" y="3140249"/>
            <a:ext cx="6087977" cy="445169"/>
            <a:chOff x="962529" y="3140249"/>
            <a:chExt cx="6087977" cy="445169"/>
          </a:xfrm>
        </p:grpSpPr>
        <p:cxnSp>
          <p:nvCxnSpPr>
            <p:cNvPr id="48" name="Straight Arrow Connector 47"/>
            <p:cNvCxnSpPr/>
            <p:nvPr/>
          </p:nvCxnSpPr>
          <p:spPr bwMode="auto">
            <a:xfrm flipV="1">
              <a:off x="962529" y="3585417"/>
              <a:ext cx="697829" cy="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0" name="Straight Arrow Connector 49"/>
            <p:cNvCxnSpPr/>
            <p:nvPr/>
          </p:nvCxnSpPr>
          <p:spPr bwMode="auto">
            <a:xfrm flipV="1">
              <a:off x="2261940" y="3585417"/>
              <a:ext cx="697829" cy="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1" name="Straight Arrow Connector 50"/>
            <p:cNvCxnSpPr/>
            <p:nvPr/>
          </p:nvCxnSpPr>
          <p:spPr bwMode="auto">
            <a:xfrm flipV="1">
              <a:off x="6352677" y="3140249"/>
              <a:ext cx="697829" cy="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2" name="Straight Arrow Connector 51"/>
            <p:cNvCxnSpPr/>
            <p:nvPr/>
          </p:nvCxnSpPr>
          <p:spPr bwMode="auto">
            <a:xfrm flipV="1">
              <a:off x="3645571" y="3392912"/>
              <a:ext cx="745955" cy="180475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4" name="Straight Arrow Connector 53"/>
            <p:cNvCxnSpPr/>
            <p:nvPr/>
          </p:nvCxnSpPr>
          <p:spPr bwMode="auto">
            <a:xfrm flipV="1">
              <a:off x="4993108" y="3152280"/>
              <a:ext cx="745955" cy="180475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9" name="Group 60"/>
          <p:cNvGrpSpPr/>
          <p:nvPr/>
        </p:nvGrpSpPr>
        <p:grpSpPr>
          <a:xfrm>
            <a:off x="1022687" y="4211059"/>
            <a:ext cx="6075945" cy="938465"/>
            <a:chOff x="1022687" y="4211059"/>
            <a:chExt cx="6075945" cy="938465"/>
          </a:xfrm>
        </p:grpSpPr>
        <p:cxnSp>
          <p:nvCxnSpPr>
            <p:cNvPr id="55" name="Straight Arrow Connector 54"/>
            <p:cNvCxnSpPr/>
            <p:nvPr/>
          </p:nvCxnSpPr>
          <p:spPr bwMode="auto">
            <a:xfrm flipV="1">
              <a:off x="1022687" y="4704354"/>
              <a:ext cx="625639" cy="44517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8" name="Straight Arrow Connector 57"/>
            <p:cNvCxnSpPr/>
            <p:nvPr/>
          </p:nvCxnSpPr>
          <p:spPr bwMode="auto">
            <a:xfrm>
              <a:off x="2370224" y="4680292"/>
              <a:ext cx="697829" cy="43313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60" name="Straight Arrow Connector 59"/>
            <p:cNvCxnSpPr/>
            <p:nvPr/>
          </p:nvCxnSpPr>
          <p:spPr bwMode="auto">
            <a:xfrm rot="5400000" flipH="1" flipV="1">
              <a:off x="3639552" y="4349425"/>
              <a:ext cx="866276" cy="661735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62" name="Straight Arrow Connector 61"/>
            <p:cNvCxnSpPr/>
            <p:nvPr/>
          </p:nvCxnSpPr>
          <p:spPr bwMode="auto">
            <a:xfrm>
              <a:off x="5101392" y="4247156"/>
              <a:ext cx="649703" cy="228598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64" name="Straight Arrow Connector 63"/>
            <p:cNvCxnSpPr/>
            <p:nvPr/>
          </p:nvCxnSpPr>
          <p:spPr bwMode="auto">
            <a:xfrm flipV="1">
              <a:off x="6448928" y="4211059"/>
              <a:ext cx="649704" cy="228604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10" name="Group 64"/>
          <p:cNvGrpSpPr/>
          <p:nvPr/>
        </p:nvGrpSpPr>
        <p:grpSpPr>
          <a:xfrm>
            <a:off x="5366083" y="5751101"/>
            <a:ext cx="1732552" cy="806117"/>
            <a:chOff x="5366083" y="5751101"/>
            <a:chExt cx="1732552" cy="806117"/>
          </a:xfrm>
        </p:grpSpPr>
        <p:cxnSp>
          <p:nvCxnSpPr>
            <p:cNvPr id="66" name="Straight Arrow Connector 65"/>
            <p:cNvCxnSpPr/>
            <p:nvPr/>
          </p:nvCxnSpPr>
          <p:spPr bwMode="auto">
            <a:xfrm rot="5400000" flipH="1" flipV="1">
              <a:off x="5293895" y="6100018"/>
              <a:ext cx="529388" cy="38501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69" name="Straight Arrow Connector 68"/>
            <p:cNvCxnSpPr/>
            <p:nvPr/>
          </p:nvCxnSpPr>
          <p:spPr bwMode="auto">
            <a:xfrm flipV="1">
              <a:off x="6280484" y="5751101"/>
              <a:ext cx="818151" cy="252664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sp>
        <p:nvSpPr>
          <p:cNvPr id="81" name="TextBox 80"/>
          <p:cNvSpPr txBox="1"/>
          <p:nvPr/>
        </p:nvSpPr>
        <p:spPr>
          <a:xfrm>
            <a:off x="469221" y="649698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0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993269" y="657714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1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256589" y="645683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3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700387" y="645686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5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995827" y="653702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7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343362" y="641672"/>
            <a:ext cx="652743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2009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 rot="16200000">
            <a:off x="6225809" y="3750567"/>
            <a:ext cx="51988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100" b="0" dirty="0" smtClean="0">
                <a:solidFill>
                  <a:srgbClr val="000000"/>
                </a:solidFill>
                <a:latin typeface="Calibri" pitchFamily="34" charset="0"/>
                <a:ea typeface="ＭＳ Ｐゴシック" pitchFamily="50" charset="-128"/>
              </a:rPr>
              <a:t>Source: </a:t>
            </a:r>
            <a:r>
              <a:rPr lang="en-US" altLang="ja-JP" sz="1100" b="0" dirty="0" err="1" smtClean="0">
                <a:solidFill>
                  <a:srgbClr val="000000"/>
                </a:solidFill>
                <a:latin typeface="Calibri" pitchFamily="34" charset="0"/>
                <a:ea typeface="ＭＳ Ｐゴシック" pitchFamily="50" charset="-128"/>
              </a:rPr>
              <a:t>SCImago</a:t>
            </a:r>
            <a:r>
              <a:rPr lang="en-US" altLang="ja-JP" sz="1100" b="0" dirty="0" smtClean="0">
                <a:solidFill>
                  <a:srgbClr val="000000"/>
                </a:solidFill>
                <a:latin typeface="Calibri" pitchFamily="34" charset="0"/>
                <a:ea typeface="ＭＳ Ｐゴシック" pitchFamily="50" charset="-128"/>
              </a:rPr>
              <a:t> Journal &amp; Country Rank (http://www.scimagojr.com/countryrank.php)</a:t>
            </a:r>
            <a:endParaRPr lang="en-US" altLang="ja-JP" sz="1100" dirty="0">
              <a:latin typeface="Calibri" pitchFamily="34" charset="0"/>
              <a:ea typeface="ＭＳ Ｐゴシック" pitchFamily="50" charset="-128"/>
            </a:endParaRP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スライド番号プレースホルダ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23313" y="6592888"/>
            <a:ext cx="515937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9C316342-F02F-483F-95BE-4C8B41D932D5}" type="slidenum">
              <a:rPr lang="ja-JP" altLang="en-GB">
                <a:ea typeface="ＭＳ Ｐゴシック" charset="-128"/>
              </a:rPr>
              <a:pPr/>
              <a:t>7</a:t>
            </a:fld>
            <a:endParaRPr lang="en-GB" altLang="ja-JP">
              <a:ea typeface="ＭＳ Ｐゴシック" charset="-128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4799013" y="823913"/>
            <a:ext cx="3948112" cy="1800225"/>
            <a:chOff x="3425" y="527"/>
            <a:chExt cx="2086" cy="1134"/>
          </a:xfrm>
        </p:grpSpPr>
        <p:sp>
          <p:nvSpPr>
            <p:cNvPr id="87191" name="Rectangle 3"/>
            <p:cNvSpPr>
              <a:spLocks noChangeArrowheads="1"/>
            </p:cNvSpPr>
            <p:nvPr/>
          </p:nvSpPr>
          <p:spPr bwMode="auto">
            <a:xfrm>
              <a:off x="3735" y="947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2" name="Rectangle 4"/>
            <p:cNvSpPr>
              <a:spLocks noChangeArrowheads="1"/>
            </p:cNvSpPr>
            <p:nvPr/>
          </p:nvSpPr>
          <p:spPr bwMode="auto">
            <a:xfrm>
              <a:off x="4055" y="829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3" name="Rectangle 5"/>
            <p:cNvSpPr>
              <a:spLocks noChangeArrowheads="1"/>
            </p:cNvSpPr>
            <p:nvPr/>
          </p:nvSpPr>
          <p:spPr bwMode="auto">
            <a:xfrm>
              <a:off x="3772" y="1064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4" name="Rectangle 6"/>
            <p:cNvSpPr>
              <a:spLocks noChangeArrowheads="1"/>
            </p:cNvSpPr>
            <p:nvPr/>
          </p:nvSpPr>
          <p:spPr bwMode="auto">
            <a:xfrm>
              <a:off x="3960" y="1064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5" name="Rectangle 7"/>
            <p:cNvSpPr>
              <a:spLocks noChangeArrowheads="1"/>
            </p:cNvSpPr>
            <p:nvPr/>
          </p:nvSpPr>
          <p:spPr bwMode="auto">
            <a:xfrm>
              <a:off x="4318" y="1333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6" name="Rectangle 8"/>
            <p:cNvSpPr>
              <a:spLocks noChangeArrowheads="1"/>
            </p:cNvSpPr>
            <p:nvPr/>
          </p:nvSpPr>
          <p:spPr bwMode="auto">
            <a:xfrm>
              <a:off x="4299" y="1081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7" name="Rectangle 9"/>
            <p:cNvSpPr>
              <a:spLocks noChangeArrowheads="1"/>
            </p:cNvSpPr>
            <p:nvPr/>
          </p:nvSpPr>
          <p:spPr bwMode="auto">
            <a:xfrm>
              <a:off x="4337" y="796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8" name="Rectangle 10"/>
            <p:cNvSpPr>
              <a:spLocks noChangeArrowheads="1"/>
            </p:cNvSpPr>
            <p:nvPr/>
          </p:nvSpPr>
          <p:spPr bwMode="auto">
            <a:xfrm>
              <a:off x="4074" y="1249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9" name="Rectangle 11"/>
            <p:cNvSpPr>
              <a:spLocks noChangeArrowheads="1"/>
            </p:cNvSpPr>
            <p:nvPr/>
          </p:nvSpPr>
          <p:spPr bwMode="auto">
            <a:xfrm>
              <a:off x="4543" y="1064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0" name="Rectangle 12"/>
            <p:cNvSpPr>
              <a:spLocks noChangeArrowheads="1"/>
            </p:cNvSpPr>
            <p:nvPr/>
          </p:nvSpPr>
          <p:spPr bwMode="auto">
            <a:xfrm>
              <a:off x="4826" y="829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1" name="Rectangle 13"/>
            <p:cNvSpPr>
              <a:spLocks noChangeArrowheads="1"/>
            </p:cNvSpPr>
            <p:nvPr/>
          </p:nvSpPr>
          <p:spPr bwMode="auto">
            <a:xfrm>
              <a:off x="4750" y="1115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2" name="Rectangle 14"/>
            <p:cNvSpPr>
              <a:spLocks noChangeArrowheads="1"/>
            </p:cNvSpPr>
            <p:nvPr/>
          </p:nvSpPr>
          <p:spPr bwMode="auto">
            <a:xfrm>
              <a:off x="4581" y="829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3" name="Rectangle 15"/>
            <p:cNvSpPr>
              <a:spLocks noChangeArrowheads="1"/>
            </p:cNvSpPr>
            <p:nvPr/>
          </p:nvSpPr>
          <p:spPr bwMode="auto">
            <a:xfrm>
              <a:off x="5145" y="1098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4" name="Rectangle 16"/>
            <p:cNvSpPr>
              <a:spLocks noChangeArrowheads="1"/>
            </p:cNvSpPr>
            <p:nvPr/>
          </p:nvSpPr>
          <p:spPr bwMode="auto">
            <a:xfrm>
              <a:off x="5013" y="913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5" name="Rectangle 17"/>
            <p:cNvSpPr>
              <a:spLocks noChangeArrowheads="1"/>
            </p:cNvSpPr>
            <p:nvPr/>
          </p:nvSpPr>
          <p:spPr bwMode="auto">
            <a:xfrm>
              <a:off x="4562" y="1316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6" name="Rectangle 18"/>
            <p:cNvSpPr>
              <a:spLocks noChangeArrowheads="1"/>
            </p:cNvSpPr>
            <p:nvPr/>
          </p:nvSpPr>
          <p:spPr bwMode="auto">
            <a:xfrm>
              <a:off x="4901" y="1266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7" name="Rectangle 19"/>
            <p:cNvSpPr>
              <a:spLocks noChangeArrowheads="1"/>
            </p:cNvSpPr>
            <p:nvPr/>
          </p:nvSpPr>
          <p:spPr bwMode="auto">
            <a:xfrm>
              <a:off x="5239" y="728"/>
              <a:ext cx="57" cy="68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8" name="Rectangle 20"/>
            <p:cNvSpPr>
              <a:spLocks noChangeArrowheads="1"/>
            </p:cNvSpPr>
            <p:nvPr/>
          </p:nvSpPr>
          <p:spPr bwMode="auto">
            <a:xfrm>
              <a:off x="3885" y="1350"/>
              <a:ext cx="57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09" name="Rectangle 21"/>
            <p:cNvSpPr>
              <a:spLocks noChangeArrowheads="1"/>
            </p:cNvSpPr>
            <p:nvPr/>
          </p:nvSpPr>
          <p:spPr bwMode="auto">
            <a:xfrm>
              <a:off x="3660" y="1366"/>
              <a:ext cx="56" cy="68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0" name="Rectangle 22"/>
            <p:cNvSpPr>
              <a:spLocks noChangeArrowheads="1"/>
            </p:cNvSpPr>
            <p:nvPr/>
          </p:nvSpPr>
          <p:spPr bwMode="auto">
            <a:xfrm>
              <a:off x="3604" y="779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1" name="Rectangle 23"/>
            <p:cNvSpPr>
              <a:spLocks noChangeArrowheads="1"/>
            </p:cNvSpPr>
            <p:nvPr/>
          </p:nvSpPr>
          <p:spPr bwMode="auto">
            <a:xfrm>
              <a:off x="5183" y="1366"/>
              <a:ext cx="56" cy="68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2" name="Rectangle 24"/>
            <p:cNvSpPr>
              <a:spLocks noChangeArrowheads="1"/>
            </p:cNvSpPr>
            <p:nvPr/>
          </p:nvSpPr>
          <p:spPr bwMode="auto">
            <a:xfrm>
              <a:off x="4750" y="1467"/>
              <a:ext cx="56" cy="6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3" name="Rectangle 25"/>
            <p:cNvSpPr>
              <a:spLocks noChangeArrowheads="1"/>
            </p:cNvSpPr>
            <p:nvPr/>
          </p:nvSpPr>
          <p:spPr bwMode="auto">
            <a:xfrm>
              <a:off x="4035" y="645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4" name="Rectangle 26"/>
            <p:cNvSpPr>
              <a:spLocks noChangeArrowheads="1"/>
            </p:cNvSpPr>
            <p:nvPr/>
          </p:nvSpPr>
          <p:spPr bwMode="auto">
            <a:xfrm>
              <a:off x="4055" y="1047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5" name="Rectangle 27"/>
            <p:cNvSpPr>
              <a:spLocks noChangeArrowheads="1"/>
            </p:cNvSpPr>
            <p:nvPr/>
          </p:nvSpPr>
          <p:spPr bwMode="auto">
            <a:xfrm>
              <a:off x="4242" y="611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6" name="Rectangle 28"/>
            <p:cNvSpPr>
              <a:spLocks noChangeArrowheads="1"/>
            </p:cNvSpPr>
            <p:nvPr/>
          </p:nvSpPr>
          <p:spPr bwMode="auto">
            <a:xfrm>
              <a:off x="4205" y="913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7" name="Rectangle 29"/>
            <p:cNvSpPr>
              <a:spLocks noChangeArrowheads="1"/>
            </p:cNvSpPr>
            <p:nvPr/>
          </p:nvSpPr>
          <p:spPr bwMode="auto">
            <a:xfrm>
              <a:off x="4430" y="645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8" name="Rectangle 30"/>
            <p:cNvSpPr>
              <a:spLocks noChangeArrowheads="1"/>
            </p:cNvSpPr>
            <p:nvPr/>
          </p:nvSpPr>
          <p:spPr bwMode="auto">
            <a:xfrm>
              <a:off x="4430" y="896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19" name="Rectangle 31"/>
            <p:cNvSpPr>
              <a:spLocks noChangeArrowheads="1"/>
            </p:cNvSpPr>
            <p:nvPr/>
          </p:nvSpPr>
          <p:spPr bwMode="auto">
            <a:xfrm>
              <a:off x="4656" y="678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0" name="Rectangle 32"/>
            <p:cNvSpPr>
              <a:spLocks noChangeArrowheads="1"/>
            </p:cNvSpPr>
            <p:nvPr/>
          </p:nvSpPr>
          <p:spPr bwMode="auto">
            <a:xfrm>
              <a:off x="5295" y="829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1" name="Rectangle 33"/>
            <p:cNvSpPr>
              <a:spLocks noChangeArrowheads="1"/>
            </p:cNvSpPr>
            <p:nvPr/>
          </p:nvSpPr>
          <p:spPr bwMode="auto">
            <a:xfrm>
              <a:off x="5220" y="1014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2" name="Rectangle 34"/>
            <p:cNvSpPr>
              <a:spLocks noChangeArrowheads="1"/>
            </p:cNvSpPr>
            <p:nvPr/>
          </p:nvSpPr>
          <p:spPr bwMode="auto">
            <a:xfrm>
              <a:off x="5088" y="812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3" name="Rectangle 35"/>
            <p:cNvSpPr>
              <a:spLocks noChangeArrowheads="1"/>
            </p:cNvSpPr>
            <p:nvPr/>
          </p:nvSpPr>
          <p:spPr bwMode="auto">
            <a:xfrm>
              <a:off x="4901" y="728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4" name="Rectangle 36"/>
            <p:cNvSpPr>
              <a:spLocks noChangeArrowheads="1"/>
            </p:cNvSpPr>
            <p:nvPr/>
          </p:nvSpPr>
          <p:spPr bwMode="auto">
            <a:xfrm>
              <a:off x="4393" y="1115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5" name="Rectangle 37"/>
            <p:cNvSpPr>
              <a:spLocks noChangeArrowheads="1"/>
            </p:cNvSpPr>
            <p:nvPr/>
          </p:nvSpPr>
          <p:spPr bwMode="auto">
            <a:xfrm>
              <a:off x="4600" y="1148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6" name="Rectangle 38"/>
            <p:cNvSpPr>
              <a:spLocks noChangeArrowheads="1"/>
            </p:cNvSpPr>
            <p:nvPr/>
          </p:nvSpPr>
          <p:spPr bwMode="auto">
            <a:xfrm>
              <a:off x="4694" y="930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7" name="Rectangle 39"/>
            <p:cNvSpPr>
              <a:spLocks noChangeArrowheads="1"/>
            </p:cNvSpPr>
            <p:nvPr/>
          </p:nvSpPr>
          <p:spPr bwMode="auto">
            <a:xfrm>
              <a:off x="4844" y="913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8" name="Rectangle 40"/>
            <p:cNvSpPr>
              <a:spLocks noChangeArrowheads="1"/>
            </p:cNvSpPr>
            <p:nvPr/>
          </p:nvSpPr>
          <p:spPr bwMode="auto">
            <a:xfrm>
              <a:off x="4543" y="1417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29" name="Rectangle 41"/>
            <p:cNvSpPr>
              <a:spLocks noChangeArrowheads="1"/>
            </p:cNvSpPr>
            <p:nvPr/>
          </p:nvSpPr>
          <p:spPr bwMode="auto">
            <a:xfrm>
              <a:off x="4224" y="1165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0" name="Rectangle 42"/>
            <p:cNvSpPr>
              <a:spLocks noChangeArrowheads="1"/>
            </p:cNvSpPr>
            <p:nvPr/>
          </p:nvSpPr>
          <p:spPr bwMode="auto">
            <a:xfrm>
              <a:off x="3829" y="712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1" name="Rectangle 43"/>
            <p:cNvSpPr>
              <a:spLocks noChangeArrowheads="1"/>
            </p:cNvSpPr>
            <p:nvPr/>
          </p:nvSpPr>
          <p:spPr bwMode="auto">
            <a:xfrm>
              <a:off x="3904" y="880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chemeClr val="tx2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2" name="Rectangle 44"/>
            <p:cNvSpPr>
              <a:spLocks noChangeArrowheads="1"/>
            </p:cNvSpPr>
            <p:nvPr/>
          </p:nvSpPr>
          <p:spPr bwMode="auto">
            <a:xfrm>
              <a:off x="4976" y="1282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3" name="Rectangle 45"/>
            <p:cNvSpPr>
              <a:spLocks noChangeArrowheads="1"/>
            </p:cNvSpPr>
            <p:nvPr/>
          </p:nvSpPr>
          <p:spPr bwMode="auto">
            <a:xfrm>
              <a:off x="5145" y="1182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4" name="Rectangle 46"/>
            <p:cNvSpPr>
              <a:spLocks noChangeArrowheads="1"/>
            </p:cNvSpPr>
            <p:nvPr/>
          </p:nvSpPr>
          <p:spPr bwMode="auto">
            <a:xfrm>
              <a:off x="4938" y="1081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5" name="Rectangle 47"/>
            <p:cNvSpPr>
              <a:spLocks noChangeArrowheads="1"/>
            </p:cNvSpPr>
            <p:nvPr/>
          </p:nvSpPr>
          <p:spPr bwMode="auto">
            <a:xfrm>
              <a:off x="4393" y="1316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6" name="Rectangle 48"/>
            <p:cNvSpPr>
              <a:spLocks noChangeArrowheads="1"/>
            </p:cNvSpPr>
            <p:nvPr/>
          </p:nvSpPr>
          <p:spPr bwMode="auto">
            <a:xfrm>
              <a:off x="4092" y="1333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7" name="Rectangle 49"/>
            <p:cNvSpPr>
              <a:spLocks noChangeArrowheads="1"/>
            </p:cNvSpPr>
            <p:nvPr/>
          </p:nvSpPr>
          <p:spPr bwMode="auto">
            <a:xfrm>
              <a:off x="4750" y="1299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8" name="Rectangle 50"/>
            <p:cNvSpPr>
              <a:spLocks noChangeArrowheads="1"/>
            </p:cNvSpPr>
            <p:nvPr/>
          </p:nvSpPr>
          <p:spPr bwMode="auto">
            <a:xfrm>
              <a:off x="3565" y="863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39" name="Rectangle 51"/>
            <p:cNvSpPr>
              <a:spLocks noChangeArrowheads="1"/>
            </p:cNvSpPr>
            <p:nvPr/>
          </p:nvSpPr>
          <p:spPr bwMode="auto">
            <a:xfrm>
              <a:off x="3735" y="1182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0" name="Rectangle 52"/>
            <p:cNvSpPr>
              <a:spLocks noChangeArrowheads="1"/>
            </p:cNvSpPr>
            <p:nvPr/>
          </p:nvSpPr>
          <p:spPr bwMode="auto">
            <a:xfrm>
              <a:off x="3904" y="1182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1" name="Rectangle 53"/>
            <p:cNvSpPr>
              <a:spLocks noChangeArrowheads="1"/>
            </p:cNvSpPr>
            <p:nvPr/>
          </p:nvSpPr>
          <p:spPr bwMode="auto">
            <a:xfrm>
              <a:off x="5088" y="1450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2" name="Rectangle 54"/>
            <p:cNvSpPr>
              <a:spLocks noChangeArrowheads="1"/>
            </p:cNvSpPr>
            <p:nvPr/>
          </p:nvSpPr>
          <p:spPr bwMode="auto">
            <a:xfrm>
              <a:off x="4863" y="1467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3" name="Rectangle 55"/>
            <p:cNvSpPr>
              <a:spLocks noChangeArrowheads="1"/>
            </p:cNvSpPr>
            <p:nvPr/>
          </p:nvSpPr>
          <p:spPr bwMode="auto">
            <a:xfrm>
              <a:off x="3678" y="645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4" name="Rectangle 56"/>
            <p:cNvSpPr>
              <a:spLocks noChangeArrowheads="1"/>
            </p:cNvSpPr>
            <p:nvPr/>
          </p:nvSpPr>
          <p:spPr bwMode="auto">
            <a:xfrm>
              <a:off x="3923" y="1450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5" name="Rectangle 57"/>
            <p:cNvSpPr>
              <a:spLocks noChangeArrowheads="1"/>
            </p:cNvSpPr>
            <p:nvPr/>
          </p:nvSpPr>
          <p:spPr bwMode="auto">
            <a:xfrm>
              <a:off x="4242" y="1467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6" name="Rectangle 58"/>
            <p:cNvSpPr>
              <a:spLocks noChangeArrowheads="1"/>
            </p:cNvSpPr>
            <p:nvPr/>
          </p:nvSpPr>
          <p:spPr bwMode="auto">
            <a:xfrm>
              <a:off x="3547" y="1031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7" name="Rectangle 59"/>
            <p:cNvSpPr>
              <a:spLocks noChangeArrowheads="1"/>
            </p:cNvSpPr>
            <p:nvPr/>
          </p:nvSpPr>
          <p:spPr bwMode="auto">
            <a:xfrm>
              <a:off x="3735" y="1383"/>
              <a:ext cx="131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8" name="Rectangle 60"/>
            <p:cNvSpPr>
              <a:spLocks noChangeArrowheads="1"/>
            </p:cNvSpPr>
            <p:nvPr/>
          </p:nvSpPr>
          <p:spPr bwMode="auto">
            <a:xfrm>
              <a:off x="3509" y="1232"/>
              <a:ext cx="132" cy="151"/>
            </a:xfrm>
            <a:prstGeom prst="rect">
              <a:avLst/>
            </a:prstGeom>
            <a:noFill/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249" name="Line 61"/>
            <p:cNvSpPr>
              <a:spLocks noChangeShapeType="1"/>
            </p:cNvSpPr>
            <p:nvPr/>
          </p:nvSpPr>
          <p:spPr bwMode="auto">
            <a:xfrm>
              <a:off x="3923" y="1417"/>
              <a:ext cx="18" cy="33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0" name="Line 62"/>
            <p:cNvSpPr>
              <a:spLocks noChangeShapeType="1"/>
            </p:cNvSpPr>
            <p:nvPr/>
          </p:nvSpPr>
          <p:spPr bwMode="auto">
            <a:xfrm flipV="1">
              <a:off x="3678" y="1333"/>
              <a:ext cx="113" cy="33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1" name="Line 63"/>
            <p:cNvSpPr>
              <a:spLocks noChangeShapeType="1"/>
            </p:cNvSpPr>
            <p:nvPr/>
          </p:nvSpPr>
          <p:spPr bwMode="auto">
            <a:xfrm flipH="1" flipV="1">
              <a:off x="3866" y="1299"/>
              <a:ext cx="38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2" name="Line 64"/>
            <p:cNvSpPr>
              <a:spLocks noChangeShapeType="1"/>
            </p:cNvSpPr>
            <p:nvPr/>
          </p:nvSpPr>
          <p:spPr bwMode="auto">
            <a:xfrm flipV="1">
              <a:off x="4130" y="1232"/>
              <a:ext cx="94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3" name="Line 65"/>
            <p:cNvSpPr>
              <a:spLocks noChangeShapeType="1"/>
            </p:cNvSpPr>
            <p:nvPr/>
          </p:nvSpPr>
          <p:spPr bwMode="auto">
            <a:xfrm flipV="1">
              <a:off x="4111" y="1198"/>
              <a:ext cx="0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4" name="Line 66"/>
            <p:cNvSpPr>
              <a:spLocks noChangeShapeType="1"/>
            </p:cNvSpPr>
            <p:nvPr/>
          </p:nvSpPr>
          <p:spPr bwMode="auto">
            <a:xfrm>
              <a:off x="3791" y="1131"/>
              <a:ext cx="0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5" name="Line 67"/>
            <p:cNvSpPr>
              <a:spLocks noChangeShapeType="1"/>
            </p:cNvSpPr>
            <p:nvPr/>
          </p:nvSpPr>
          <p:spPr bwMode="auto">
            <a:xfrm flipH="1">
              <a:off x="3678" y="1098"/>
              <a:ext cx="94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6" name="Line 68"/>
            <p:cNvSpPr>
              <a:spLocks noChangeShapeType="1"/>
            </p:cNvSpPr>
            <p:nvPr/>
          </p:nvSpPr>
          <p:spPr bwMode="auto">
            <a:xfrm flipH="1">
              <a:off x="3641" y="1098"/>
              <a:ext cx="131" cy="1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7" name="Line 69"/>
            <p:cNvSpPr>
              <a:spLocks noChangeShapeType="1"/>
            </p:cNvSpPr>
            <p:nvPr/>
          </p:nvSpPr>
          <p:spPr bwMode="auto">
            <a:xfrm flipV="1">
              <a:off x="3791" y="947"/>
              <a:ext cx="113" cy="16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8" name="Line 70"/>
            <p:cNvSpPr>
              <a:spLocks noChangeShapeType="1"/>
            </p:cNvSpPr>
            <p:nvPr/>
          </p:nvSpPr>
          <p:spPr bwMode="auto">
            <a:xfrm flipH="1" flipV="1">
              <a:off x="3697" y="930"/>
              <a:ext cx="38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59" name="Line 71"/>
            <p:cNvSpPr>
              <a:spLocks noChangeShapeType="1"/>
            </p:cNvSpPr>
            <p:nvPr/>
          </p:nvSpPr>
          <p:spPr bwMode="auto">
            <a:xfrm>
              <a:off x="3622" y="846"/>
              <a:ext cx="0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0" name="Line 73"/>
            <p:cNvSpPr>
              <a:spLocks noChangeShapeType="1"/>
            </p:cNvSpPr>
            <p:nvPr/>
          </p:nvSpPr>
          <p:spPr bwMode="auto">
            <a:xfrm flipV="1">
              <a:off x="3622" y="728"/>
              <a:ext cx="56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1" name="Line 74"/>
            <p:cNvSpPr>
              <a:spLocks noChangeShapeType="1"/>
            </p:cNvSpPr>
            <p:nvPr/>
          </p:nvSpPr>
          <p:spPr bwMode="auto">
            <a:xfrm flipV="1">
              <a:off x="3754" y="796"/>
              <a:ext cx="75" cy="1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2" name="Line 75"/>
            <p:cNvSpPr>
              <a:spLocks noChangeShapeType="1"/>
            </p:cNvSpPr>
            <p:nvPr/>
          </p:nvSpPr>
          <p:spPr bwMode="auto">
            <a:xfrm flipH="1" flipV="1">
              <a:off x="3960" y="779"/>
              <a:ext cx="95" cy="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3" name="Line 76"/>
            <p:cNvSpPr>
              <a:spLocks noChangeShapeType="1"/>
            </p:cNvSpPr>
            <p:nvPr/>
          </p:nvSpPr>
          <p:spPr bwMode="auto">
            <a:xfrm>
              <a:off x="4073" y="896"/>
              <a:ext cx="57" cy="1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4" name="Line 77"/>
            <p:cNvSpPr>
              <a:spLocks noChangeShapeType="1"/>
            </p:cNvSpPr>
            <p:nvPr/>
          </p:nvSpPr>
          <p:spPr bwMode="auto">
            <a:xfrm flipV="1">
              <a:off x="4073" y="796"/>
              <a:ext cx="19" cy="33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5" name="Line 78"/>
            <p:cNvSpPr>
              <a:spLocks noChangeShapeType="1"/>
            </p:cNvSpPr>
            <p:nvPr/>
          </p:nvSpPr>
          <p:spPr bwMode="auto">
            <a:xfrm flipH="1">
              <a:off x="4280" y="829"/>
              <a:ext cx="56" cy="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6" name="Line 79"/>
            <p:cNvSpPr>
              <a:spLocks noChangeShapeType="1"/>
            </p:cNvSpPr>
            <p:nvPr/>
          </p:nvSpPr>
          <p:spPr bwMode="auto">
            <a:xfrm flipH="1" flipV="1">
              <a:off x="4299" y="762"/>
              <a:ext cx="56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7" name="Line 80"/>
            <p:cNvSpPr>
              <a:spLocks noChangeShapeType="1"/>
            </p:cNvSpPr>
            <p:nvPr/>
          </p:nvSpPr>
          <p:spPr bwMode="auto">
            <a:xfrm flipH="1" flipV="1">
              <a:off x="4280" y="1064"/>
              <a:ext cx="38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8" name="Line 81"/>
            <p:cNvSpPr>
              <a:spLocks noChangeShapeType="1"/>
            </p:cNvSpPr>
            <p:nvPr/>
          </p:nvSpPr>
          <p:spPr bwMode="auto">
            <a:xfrm flipV="1">
              <a:off x="4355" y="963"/>
              <a:ext cx="75" cy="152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69" name="Line 82"/>
            <p:cNvSpPr>
              <a:spLocks noChangeShapeType="1"/>
            </p:cNvSpPr>
            <p:nvPr/>
          </p:nvSpPr>
          <p:spPr bwMode="auto">
            <a:xfrm flipH="1" flipV="1">
              <a:off x="4487" y="1047"/>
              <a:ext cx="56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0" name="Line 83"/>
            <p:cNvSpPr>
              <a:spLocks noChangeShapeType="1"/>
            </p:cNvSpPr>
            <p:nvPr/>
          </p:nvSpPr>
          <p:spPr bwMode="auto">
            <a:xfrm flipH="1">
              <a:off x="4299" y="1148"/>
              <a:ext cx="37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1" name="Line 84"/>
            <p:cNvSpPr>
              <a:spLocks noChangeShapeType="1"/>
            </p:cNvSpPr>
            <p:nvPr/>
          </p:nvSpPr>
          <p:spPr bwMode="auto">
            <a:xfrm flipH="1" flipV="1">
              <a:off x="4318" y="1316"/>
              <a:ext cx="37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2" name="Line 85"/>
            <p:cNvSpPr>
              <a:spLocks noChangeShapeType="1"/>
            </p:cNvSpPr>
            <p:nvPr/>
          </p:nvSpPr>
          <p:spPr bwMode="auto">
            <a:xfrm flipH="1">
              <a:off x="4299" y="1400"/>
              <a:ext cx="56" cy="6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3" name="Line 86"/>
            <p:cNvSpPr>
              <a:spLocks noChangeShapeType="1"/>
            </p:cNvSpPr>
            <p:nvPr/>
          </p:nvSpPr>
          <p:spPr bwMode="auto">
            <a:xfrm flipH="1">
              <a:off x="4224" y="1350"/>
              <a:ext cx="94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4" name="Line 87"/>
            <p:cNvSpPr>
              <a:spLocks noChangeShapeType="1"/>
            </p:cNvSpPr>
            <p:nvPr/>
          </p:nvSpPr>
          <p:spPr bwMode="auto">
            <a:xfrm flipH="1">
              <a:off x="4525" y="1350"/>
              <a:ext cx="37" cy="33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5" name="Line 88"/>
            <p:cNvSpPr>
              <a:spLocks noChangeShapeType="1"/>
            </p:cNvSpPr>
            <p:nvPr/>
          </p:nvSpPr>
          <p:spPr bwMode="auto">
            <a:xfrm>
              <a:off x="4581" y="1383"/>
              <a:ext cx="19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6" name="Line 89"/>
            <p:cNvSpPr>
              <a:spLocks noChangeShapeType="1"/>
            </p:cNvSpPr>
            <p:nvPr/>
          </p:nvSpPr>
          <p:spPr bwMode="auto">
            <a:xfrm>
              <a:off x="4581" y="1131"/>
              <a:ext cx="19" cy="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7" name="Line 91"/>
            <p:cNvSpPr>
              <a:spLocks noChangeShapeType="1"/>
            </p:cNvSpPr>
            <p:nvPr/>
          </p:nvSpPr>
          <p:spPr bwMode="auto">
            <a:xfrm flipH="1" flipV="1">
              <a:off x="4487" y="796"/>
              <a:ext cx="94" cy="6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8" name="Line 92"/>
            <p:cNvSpPr>
              <a:spLocks noChangeShapeType="1"/>
            </p:cNvSpPr>
            <p:nvPr/>
          </p:nvSpPr>
          <p:spPr bwMode="auto">
            <a:xfrm flipH="1">
              <a:off x="4562" y="896"/>
              <a:ext cx="56" cy="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79" name="Line 93"/>
            <p:cNvSpPr>
              <a:spLocks noChangeShapeType="1"/>
            </p:cNvSpPr>
            <p:nvPr/>
          </p:nvSpPr>
          <p:spPr bwMode="auto">
            <a:xfrm flipH="1" flipV="1">
              <a:off x="4750" y="1081"/>
              <a:ext cx="19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0" name="Line 94"/>
            <p:cNvSpPr>
              <a:spLocks noChangeShapeType="1"/>
            </p:cNvSpPr>
            <p:nvPr/>
          </p:nvSpPr>
          <p:spPr bwMode="auto">
            <a:xfrm flipV="1">
              <a:off x="4806" y="1064"/>
              <a:ext cx="95" cy="8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1" name="Line 95"/>
            <p:cNvSpPr>
              <a:spLocks noChangeShapeType="1"/>
            </p:cNvSpPr>
            <p:nvPr/>
          </p:nvSpPr>
          <p:spPr bwMode="auto">
            <a:xfrm flipV="1">
              <a:off x="4919" y="1064"/>
              <a:ext cx="0" cy="202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2" name="Line 96"/>
            <p:cNvSpPr>
              <a:spLocks noChangeShapeType="1"/>
            </p:cNvSpPr>
            <p:nvPr/>
          </p:nvSpPr>
          <p:spPr bwMode="auto">
            <a:xfrm flipV="1">
              <a:off x="4637" y="829"/>
              <a:ext cx="94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3" name="Line 97"/>
            <p:cNvSpPr>
              <a:spLocks noChangeShapeType="1"/>
            </p:cNvSpPr>
            <p:nvPr/>
          </p:nvSpPr>
          <p:spPr bwMode="auto">
            <a:xfrm flipH="1">
              <a:off x="4750" y="863"/>
              <a:ext cx="75" cy="6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4" name="Line 98"/>
            <p:cNvSpPr>
              <a:spLocks noChangeShapeType="1"/>
            </p:cNvSpPr>
            <p:nvPr/>
          </p:nvSpPr>
          <p:spPr bwMode="auto">
            <a:xfrm flipV="1">
              <a:off x="4957" y="1232"/>
              <a:ext cx="38" cy="6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5" name="Line 99"/>
            <p:cNvSpPr>
              <a:spLocks noChangeShapeType="1"/>
            </p:cNvSpPr>
            <p:nvPr/>
          </p:nvSpPr>
          <p:spPr bwMode="auto">
            <a:xfrm flipH="1" flipV="1">
              <a:off x="4675" y="1467"/>
              <a:ext cx="75" cy="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6" name="Line 100"/>
            <p:cNvSpPr>
              <a:spLocks noChangeShapeType="1"/>
            </p:cNvSpPr>
            <p:nvPr/>
          </p:nvSpPr>
          <p:spPr bwMode="auto">
            <a:xfrm flipV="1">
              <a:off x="4769" y="1450"/>
              <a:ext cx="19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7" name="Line 101"/>
            <p:cNvSpPr>
              <a:spLocks noChangeShapeType="1"/>
            </p:cNvSpPr>
            <p:nvPr/>
          </p:nvSpPr>
          <p:spPr bwMode="auto">
            <a:xfrm flipV="1">
              <a:off x="4618" y="1299"/>
              <a:ext cx="57" cy="5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8" name="Line 102"/>
            <p:cNvSpPr>
              <a:spLocks noChangeShapeType="1"/>
            </p:cNvSpPr>
            <p:nvPr/>
          </p:nvSpPr>
          <p:spPr bwMode="auto">
            <a:xfrm flipH="1">
              <a:off x="5013" y="980"/>
              <a:ext cx="19" cy="101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89" name="Line 103"/>
            <p:cNvSpPr>
              <a:spLocks noChangeShapeType="1"/>
            </p:cNvSpPr>
            <p:nvPr/>
          </p:nvSpPr>
          <p:spPr bwMode="auto">
            <a:xfrm flipV="1">
              <a:off x="5201" y="1333"/>
              <a:ext cx="0" cy="33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0" name="Line 104"/>
            <p:cNvSpPr>
              <a:spLocks noChangeShapeType="1"/>
            </p:cNvSpPr>
            <p:nvPr/>
          </p:nvSpPr>
          <p:spPr bwMode="auto">
            <a:xfrm flipH="1">
              <a:off x="5145" y="762"/>
              <a:ext cx="94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1" name="Line 105"/>
            <p:cNvSpPr>
              <a:spLocks noChangeShapeType="1"/>
            </p:cNvSpPr>
            <p:nvPr/>
          </p:nvSpPr>
          <p:spPr bwMode="auto">
            <a:xfrm>
              <a:off x="5258" y="796"/>
              <a:ext cx="19" cy="218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2" name="Line 106"/>
            <p:cNvSpPr>
              <a:spLocks noChangeShapeType="1"/>
            </p:cNvSpPr>
            <p:nvPr/>
          </p:nvSpPr>
          <p:spPr bwMode="auto">
            <a:xfrm>
              <a:off x="5295" y="762"/>
              <a:ext cx="57" cy="6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3" name="Line 107"/>
            <p:cNvSpPr>
              <a:spLocks noChangeShapeType="1"/>
            </p:cNvSpPr>
            <p:nvPr/>
          </p:nvSpPr>
          <p:spPr bwMode="auto">
            <a:xfrm>
              <a:off x="5182" y="1165"/>
              <a:ext cx="0" cy="17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4" name="Line 108"/>
            <p:cNvSpPr>
              <a:spLocks noChangeShapeType="1"/>
            </p:cNvSpPr>
            <p:nvPr/>
          </p:nvSpPr>
          <p:spPr bwMode="auto">
            <a:xfrm flipV="1">
              <a:off x="5201" y="1081"/>
              <a:ext cx="19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5" name="Line 109"/>
            <p:cNvSpPr>
              <a:spLocks noChangeShapeType="1"/>
            </p:cNvSpPr>
            <p:nvPr/>
          </p:nvSpPr>
          <p:spPr bwMode="auto">
            <a:xfrm>
              <a:off x="4806" y="1501"/>
              <a:ext cx="57" cy="16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6" name="Line 110"/>
            <p:cNvSpPr>
              <a:spLocks noChangeShapeType="1"/>
            </p:cNvSpPr>
            <p:nvPr/>
          </p:nvSpPr>
          <p:spPr bwMode="auto">
            <a:xfrm>
              <a:off x="4919" y="1333"/>
              <a:ext cx="0" cy="134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7" name="Line 111"/>
            <p:cNvSpPr>
              <a:spLocks noChangeShapeType="1"/>
            </p:cNvSpPr>
            <p:nvPr/>
          </p:nvSpPr>
          <p:spPr bwMode="auto">
            <a:xfrm flipH="1">
              <a:off x="5145" y="1400"/>
              <a:ext cx="37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8" name="Line 112"/>
            <p:cNvSpPr>
              <a:spLocks noChangeShapeType="1"/>
            </p:cNvSpPr>
            <p:nvPr/>
          </p:nvSpPr>
          <p:spPr bwMode="auto">
            <a:xfrm flipH="1" flipV="1">
              <a:off x="5107" y="1350"/>
              <a:ext cx="75" cy="5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99" name="Rectangle 113"/>
            <p:cNvSpPr>
              <a:spLocks noChangeArrowheads="1"/>
            </p:cNvSpPr>
            <p:nvPr/>
          </p:nvSpPr>
          <p:spPr bwMode="auto">
            <a:xfrm>
              <a:off x="3425" y="527"/>
              <a:ext cx="2086" cy="113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ja-JP" altLang="en-US">
                <a:ea typeface="ＭＳ Ｐゴシック" charset="-128"/>
              </a:endParaRPr>
            </a:p>
          </p:txBody>
        </p:sp>
      </p:grpSp>
      <p:grpSp>
        <p:nvGrpSpPr>
          <p:cNvPr id="3" name="Group 114"/>
          <p:cNvGrpSpPr>
            <a:grpSpLocks/>
          </p:cNvGrpSpPr>
          <p:nvPr/>
        </p:nvGrpSpPr>
        <p:grpSpPr bwMode="auto">
          <a:xfrm>
            <a:off x="4787900" y="2759075"/>
            <a:ext cx="3949700" cy="1800225"/>
            <a:chOff x="3208" y="1694"/>
            <a:chExt cx="2087" cy="1180"/>
          </a:xfrm>
        </p:grpSpPr>
        <p:sp>
          <p:nvSpPr>
            <p:cNvPr id="87126" name="Rectangle 4"/>
            <p:cNvSpPr>
              <a:spLocks noChangeArrowheads="1"/>
            </p:cNvSpPr>
            <p:nvPr/>
          </p:nvSpPr>
          <p:spPr bwMode="auto">
            <a:xfrm>
              <a:off x="3767" y="1757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27" name="Rectangle 5"/>
            <p:cNvSpPr>
              <a:spLocks noChangeArrowheads="1"/>
            </p:cNvSpPr>
            <p:nvPr/>
          </p:nvSpPr>
          <p:spPr bwMode="auto">
            <a:xfrm>
              <a:off x="3653" y="2130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28" name="Rectangle 6"/>
            <p:cNvSpPr>
              <a:spLocks noChangeArrowheads="1"/>
            </p:cNvSpPr>
            <p:nvPr/>
          </p:nvSpPr>
          <p:spPr bwMode="auto">
            <a:xfrm>
              <a:off x="3946" y="1729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29" name="Rectangle 7"/>
            <p:cNvSpPr>
              <a:spLocks noChangeArrowheads="1"/>
            </p:cNvSpPr>
            <p:nvPr/>
          </p:nvSpPr>
          <p:spPr bwMode="auto">
            <a:xfrm>
              <a:off x="3670" y="19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0" name="Rectangle 8"/>
            <p:cNvSpPr>
              <a:spLocks noChangeArrowheads="1"/>
            </p:cNvSpPr>
            <p:nvPr/>
          </p:nvSpPr>
          <p:spPr bwMode="auto">
            <a:xfrm>
              <a:off x="4109" y="1757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1" name="Rectangle 9"/>
            <p:cNvSpPr>
              <a:spLocks noChangeArrowheads="1"/>
            </p:cNvSpPr>
            <p:nvPr/>
          </p:nvSpPr>
          <p:spPr bwMode="auto">
            <a:xfrm>
              <a:off x="3930" y="1872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2" name="Rectangle 10"/>
            <p:cNvSpPr>
              <a:spLocks noChangeArrowheads="1"/>
            </p:cNvSpPr>
            <p:nvPr/>
          </p:nvSpPr>
          <p:spPr bwMode="auto">
            <a:xfrm>
              <a:off x="3621" y="1815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3" name="Rectangle 11"/>
            <p:cNvSpPr>
              <a:spLocks noChangeArrowheads="1"/>
            </p:cNvSpPr>
            <p:nvPr/>
          </p:nvSpPr>
          <p:spPr bwMode="auto">
            <a:xfrm>
              <a:off x="3507" y="19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4" name="Rectangle 12"/>
            <p:cNvSpPr>
              <a:spLocks noChangeArrowheads="1"/>
            </p:cNvSpPr>
            <p:nvPr/>
          </p:nvSpPr>
          <p:spPr bwMode="auto">
            <a:xfrm>
              <a:off x="3360" y="1929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5" name="Rectangle 13"/>
            <p:cNvSpPr>
              <a:spLocks noChangeArrowheads="1"/>
            </p:cNvSpPr>
            <p:nvPr/>
          </p:nvSpPr>
          <p:spPr bwMode="auto">
            <a:xfrm>
              <a:off x="3458" y="22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6" name="Rectangle 14"/>
            <p:cNvSpPr>
              <a:spLocks noChangeArrowheads="1"/>
            </p:cNvSpPr>
            <p:nvPr/>
          </p:nvSpPr>
          <p:spPr bwMode="auto">
            <a:xfrm>
              <a:off x="3490" y="2130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7" name="Rectangle 15"/>
            <p:cNvSpPr>
              <a:spLocks noChangeArrowheads="1"/>
            </p:cNvSpPr>
            <p:nvPr/>
          </p:nvSpPr>
          <p:spPr bwMode="auto">
            <a:xfrm>
              <a:off x="3490" y="1800"/>
              <a:ext cx="115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8" name="Rectangle 16"/>
            <p:cNvSpPr>
              <a:spLocks noChangeArrowheads="1"/>
            </p:cNvSpPr>
            <p:nvPr/>
          </p:nvSpPr>
          <p:spPr bwMode="auto">
            <a:xfrm>
              <a:off x="3344" y="2087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39" name="Rectangle 17"/>
            <p:cNvSpPr>
              <a:spLocks noChangeArrowheads="1"/>
            </p:cNvSpPr>
            <p:nvPr/>
          </p:nvSpPr>
          <p:spPr bwMode="auto">
            <a:xfrm>
              <a:off x="3686" y="22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0" name="Rectangle 18"/>
            <p:cNvSpPr>
              <a:spLocks noChangeArrowheads="1"/>
            </p:cNvSpPr>
            <p:nvPr/>
          </p:nvSpPr>
          <p:spPr bwMode="auto">
            <a:xfrm>
              <a:off x="3751" y="2430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1" name="Rectangle 19"/>
            <p:cNvSpPr>
              <a:spLocks noChangeArrowheads="1"/>
            </p:cNvSpPr>
            <p:nvPr/>
          </p:nvSpPr>
          <p:spPr bwMode="auto">
            <a:xfrm>
              <a:off x="4158" y="22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2" name="Rectangle 20"/>
            <p:cNvSpPr>
              <a:spLocks noChangeArrowheads="1"/>
            </p:cNvSpPr>
            <p:nvPr/>
          </p:nvSpPr>
          <p:spPr bwMode="auto">
            <a:xfrm>
              <a:off x="3914" y="260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3" name="Rectangle 21"/>
            <p:cNvSpPr>
              <a:spLocks noChangeArrowheads="1"/>
            </p:cNvSpPr>
            <p:nvPr/>
          </p:nvSpPr>
          <p:spPr bwMode="auto">
            <a:xfrm>
              <a:off x="4125" y="2087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4" name="Rectangle 22"/>
            <p:cNvSpPr>
              <a:spLocks noChangeArrowheads="1"/>
            </p:cNvSpPr>
            <p:nvPr/>
          </p:nvSpPr>
          <p:spPr bwMode="auto">
            <a:xfrm>
              <a:off x="4679" y="2173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5" name="Rectangle 23"/>
            <p:cNvSpPr>
              <a:spLocks noChangeArrowheads="1"/>
            </p:cNvSpPr>
            <p:nvPr/>
          </p:nvSpPr>
          <p:spPr bwMode="auto">
            <a:xfrm>
              <a:off x="4223" y="2573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6" name="Rectangle 24"/>
            <p:cNvSpPr>
              <a:spLocks noChangeArrowheads="1"/>
            </p:cNvSpPr>
            <p:nvPr/>
          </p:nvSpPr>
          <p:spPr bwMode="auto">
            <a:xfrm>
              <a:off x="3995" y="21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7" name="Rectangle 25"/>
            <p:cNvSpPr>
              <a:spLocks noChangeArrowheads="1"/>
            </p:cNvSpPr>
            <p:nvPr/>
          </p:nvSpPr>
          <p:spPr bwMode="auto">
            <a:xfrm>
              <a:off x="4012" y="2344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8" name="Rectangle 26"/>
            <p:cNvSpPr>
              <a:spLocks noChangeArrowheads="1"/>
            </p:cNvSpPr>
            <p:nvPr/>
          </p:nvSpPr>
          <p:spPr bwMode="auto">
            <a:xfrm>
              <a:off x="3800" y="1915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49" name="Rectangle 27"/>
            <p:cNvSpPr>
              <a:spLocks noChangeArrowheads="1"/>
            </p:cNvSpPr>
            <p:nvPr/>
          </p:nvSpPr>
          <p:spPr bwMode="auto">
            <a:xfrm>
              <a:off x="4044" y="2502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0" name="Rectangle 28"/>
            <p:cNvSpPr>
              <a:spLocks noChangeArrowheads="1"/>
            </p:cNvSpPr>
            <p:nvPr/>
          </p:nvSpPr>
          <p:spPr bwMode="auto">
            <a:xfrm>
              <a:off x="3898" y="2745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1" name="Rectangle 29"/>
            <p:cNvSpPr>
              <a:spLocks noChangeArrowheads="1"/>
            </p:cNvSpPr>
            <p:nvPr/>
          </p:nvSpPr>
          <p:spPr bwMode="auto">
            <a:xfrm>
              <a:off x="3800" y="2130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2" name="Rectangle 30"/>
            <p:cNvSpPr>
              <a:spLocks noChangeArrowheads="1"/>
            </p:cNvSpPr>
            <p:nvPr/>
          </p:nvSpPr>
          <p:spPr bwMode="auto">
            <a:xfrm>
              <a:off x="3881" y="2459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3" name="Rectangle 31"/>
            <p:cNvSpPr>
              <a:spLocks noChangeArrowheads="1"/>
            </p:cNvSpPr>
            <p:nvPr/>
          </p:nvSpPr>
          <p:spPr bwMode="auto">
            <a:xfrm>
              <a:off x="3767" y="260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4" name="Rectangle 32"/>
            <p:cNvSpPr>
              <a:spLocks noChangeArrowheads="1"/>
            </p:cNvSpPr>
            <p:nvPr/>
          </p:nvSpPr>
          <p:spPr bwMode="auto">
            <a:xfrm>
              <a:off x="4858" y="2058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5" name="Rectangle 33"/>
            <p:cNvSpPr>
              <a:spLocks noChangeArrowheads="1"/>
            </p:cNvSpPr>
            <p:nvPr/>
          </p:nvSpPr>
          <p:spPr bwMode="auto">
            <a:xfrm>
              <a:off x="4695" y="2029"/>
              <a:ext cx="115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6" name="Rectangle 34"/>
            <p:cNvSpPr>
              <a:spLocks noChangeArrowheads="1"/>
            </p:cNvSpPr>
            <p:nvPr/>
          </p:nvSpPr>
          <p:spPr bwMode="auto">
            <a:xfrm>
              <a:off x="4793" y="1757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7" name="Rectangle 35"/>
            <p:cNvSpPr>
              <a:spLocks noChangeArrowheads="1"/>
            </p:cNvSpPr>
            <p:nvPr/>
          </p:nvSpPr>
          <p:spPr bwMode="auto">
            <a:xfrm>
              <a:off x="4825" y="1915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8" name="Rectangle 36"/>
            <p:cNvSpPr>
              <a:spLocks noChangeArrowheads="1"/>
            </p:cNvSpPr>
            <p:nvPr/>
          </p:nvSpPr>
          <p:spPr bwMode="auto">
            <a:xfrm>
              <a:off x="4972" y="1729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59" name="Rectangle 37"/>
            <p:cNvSpPr>
              <a:spLocks noChangeArrowheads="1"/>
            </p:cNvSpPr>
            <p:nvPr/>
          </p:nvSpPr>
          <p:spPr bwMode="auto">
            <a:xfrm>
              <a:off x="5021" y="1900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0" name="Rectangle 38"/>
            <p:cNvSpPr>
              <a:spLocks noChangeArrowheads="1"/>
            </p:cNvSpPr>
            <p:nvPr/>
          </p:nvSpPr>
          <p:spPr bwMode="auto">
            <a:xfrm>
              <a:off x="4256" y="1857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1" name="Rectangle 39"/>
            <p:cNvSpPr>
              <a:spLocks noChangeArrowheads="1"/>
            </p:cNvSpPr>
            <p:nvPr/>
          </p:nvSpPr>
          <p:spPr bwMode="auto">
            <a:xfrm>
              <a:off x="4451" y="1915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2" name="Rectangle 40"/>
            <p:cNvSpPr>
              <a:spLocks noChangeArrowheads="1"/>
            </p:cNvSpPr>
            <p:nvPr/>
          </p:nvSpPr>
          <p:spPr bwMode="auto">
            <a:xfrm>
              <a:off x="3963" y="2015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3" name="Rectangle 41"/>
            <p:cNvSpPr>
              <a:spLocks noChangeArrowheads="1"/>
            </p:cNvSpPr>
            <p:nvPr/>
          </p:nvSpPr>
          <p:spPr bwMode="auto">
            <a:xfrm>
              <a:off x="4288" y="2001"/>
              <a:ext cx="115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4" name="Rectangle 42"/>
            <p:cNvSpPr>
              <a:spLocks noChangeArrowheads="1"/>
            </p:cNvSpPr>
            <p:nvPr/>
          </p:nvSpPr>
          <p:spPr bwMode="auto">
            <a:xfrm>
              <a:off x="4402" y="1757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5" name="Rectangle 43"/>
            <p:cNvSpPr>
              <a:spLocks noChangeArrowheads="1"/>
            </p:cNvSpPr>
            <p:nvPr/>
          </p:nvSpPr>
          <p:spPr bwMode="auto">
            <a:xfrm>
              <a:off x="4240" y="1700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6" name="Rectangle 44"/>
            <p:cNvSpPr>
              <a:spLocks noChangeArrowheads="1"/>
            </p:cNvSpPr>
            <p:nvPr/>
          </p:nvSpPr>
          <p:spPr bwMode="auto">
            <a:xfrm>
              <a:off x="4125" y="1943"/>
              <a:ext cx="115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7" name="Rectangle 45"/>
            <p:cNvSpPr>
              <a:spLocks noChangeArrowheads="1"/>
            </p:cNvSpPr>
            <p:nvPr/>
          </p:nvSpPr>
          <p:spPr bwMode="auto">
            <a:xfrm>
              <a:off x="3865" y="22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8" name="Oval 46"/>
            <p:cNvSpPr>
              <a:spLocks noChangeArrowheads="1"/>
            </p:cNvSpPr>
            <p:nvPr/>
          </p:nvSpPr>
          <p:spPr bwMode="auto">
            <a:xfrm>
              <a:off x="3344" y="1786"/>
              <a:ext cx="489" cy="573"/>
            </a:xfrm>
            <a:prstGeom prst="ellipse">
              <a:avLst/>
            </a:prstGeom>
            <a:noFill/>
            <a:ln w="28575" algn="ctr">
              <a:solidFill>
                <a:srgbClr val="800000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69" name="Oval 47"/>
            <p:cNvSpPr>
              <a:spLocks noChangeArrowheads="1"/>
            </p:cNvSpPr>
            <p:nvPr/>
          </p:nvSpPr>
          <p:spPr bwMode="auto">
            <a:xfrm>
              <a:off x="3718" y="2130"/>
              <a:ext cx="701" cy="730"/>
            </a:xfrm>
            <a:prstGeom prst="ellipse">
              <a:avLst/>
            </a:prstGeom>
            <a:noFill/>
            <a:ln w="28575" algn="ctr">
              <a:solidFill>
                <a:srgbClr val="800000"/>
              </a:solidFill>
              <a:prstDash val="dash"/>
              <a:round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0" name="Oval 48"/>
            <p:cNvSpPr>
              <a:spLocks noChangeArrowheads="1"/>
            </p:cNvSpPr>
            <p:nvPr/>
          </p:nvSpPr>
          <p:spPr bwMode="auto">
            <a:xfrm>
              <a:off x="3833" y="1694"/>
              <a:ext cx="732" cy="430"/>
            </a:xfrm>
            <a:prstGeom prst="ellipse">
              <a:avLst/>
            </a:prstGeom>
            <a:noFill/>
            <a:ln w="28575" algn="ctr">
              <a:solidFill>
                <a:srgbClr val="800000"/>
              </a:solidFill>
              <a:prstDash val="dash"/>
              <a:round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1" name="Oval 49"/>
            <p:cNvSpPr>
              <a:spLocks noChangeArrowheads="1"/>
            </p:cNvSpPr>
            <p:nvPr/>
          </p:nvSpPr>
          <p:spPr bwMode="auto">
            <a:xfrm>
              <a:off x="4728" y="1700"/>
              <a:ext cx="521" cy="988"/>
            </a:xfrm>
            <a:prstGeom prst="ellipse">
              <a:avLst/>
            </a:prstGeom>
            <a:noFill/>
            <a:ln w="28575" algn="ctr">
              <a:solidFill>
                <a:srgbClr val="800000"/>
              </a:solidFill>
              <a:prstDash val="dash"/>
              <a:round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2" name="Rectangle 50"/>
            <p:cNvSpPr>
              <a:spLocks noChangeArrowheads="1"/>
            </p:cNvSpPr>
            <p:nvPr/>
          </p:nvSpPr>
          <p:spPr bwMode="auto">
            <a:xfrm>
              <a:off x="4060" y="2674"/>
              <a:ext cx="115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3" name="Rectangle 51"/>
            <p:cNvSpPr>
              <a:spLocks noChangeArrowheads="1"/>
            </p:cNvSpPr>
            <p:nvPr/>
          </p:nvSpPr>
          <p:spPr bwMode="auto">
            <a:xfrm>
              <a:off x="4305" y="2244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4" name="Rectangle 52"/>
            <p:cNvSpPr>
              <a:spLocks noChangeArrowheads="1"/>
            </p:cNvSpPr>
            <p:nvPr/>
          </p:nvSpPr>
          <p:spPr bwMode="auto">
            <a:xfrm>
              <a:off x="4435" y="2158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5" name="Rectangle 53"/>
            <p:cNvSpPr>
              <a:spLocks noChangeArrowheads="1"/>
            </p:cNvSpPr>
            <p:nvPr/>
          </p:nvSpPr>
          <p:spPr bwMode="auto">
            <a:xfrm>
              <a:off x="4386" y="2402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6" name="Rectangle 54"/>
            <p:cNvSpPr>
              <a:spLocks noChangeArrowheads="1"/>
            </p:cNvSpPr>
            <p:nvPr/>
          </p:nvSpPr>
          <p:spPr bwMode="auto">
            <a:xfrm>
              <a:off x="4516" y="2301"/>
              <a:ext cx="115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7" name="Rectangle 55"/>
            <p:cNvSpPr>
              <a:spLocks noChangeArrowheads="1"/>
            </p:cNvSpPr>
            <p:nvPr/>
          </p:nvSpPr>
          <p:spPr bwMode="auto">
            <a:xfrm>
              <a:off x="4549" y="2473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8" name="Rectangle 56"/>
            <p:cNvSpPr>
              <a:spLocks noChangeArrowheads="1"/>
            </p:cNvSpPr>
            <p:nvPr/>
          </p:nvSpPr>
          <p:spPr bwMode="auto">
            <a:xfrm>
              <a:off x="4191" y="2416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79" name="Rectangle 58"/>
            <p:cNvSpPr>
              <a:spLocks noChangeArrowheads="1"/>
            </p:cNvSpPr>
            <p:nvPr/>
          </p:nvSpPr>
          <p:spPr bwMode="auto">
            <a:xfrm>
              <a:off x="4663" y="2330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0" name="Oval 59"/>
            <p:cNvSpPr>
              <a:spLocks noChangeArrowheads="1"/>
            </p:cNvSpPr>
            <p:nvPr/>
          </p:nvSpPr>
          <p:spPr bwMode="auto">
            <a:xfrm>
              <a:off x="4419" y="2144"/>
              <a:ext cx="309" cy="458"/>
            </a:xfrm>
            <a:prstGeom prst="ellipse">
              <a:avLst/>
            </a:prstGeom>
            <a:noFill/>
            <a:ln w="28575" algn="ctr">
              <a:solidFill>
                <a:srgbClr val="800000"/>
              </a:solidFill>
              <a:prstDash val="dash"/>
              <a:round/>
              <a:headEnd/>
              <a:tailEnd/>
            </a:ln>
          </p:spPr>
          <p:txBody>
            <a:bodyPr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1" name="Rectangle 60"/>
            <p:cNvSpPr>
              <a:spLocks noChangeArrowheads="1"/>
            </p:cNvSpPr>
            <p:nvPr/>
          </p:nvSpPr>
          <p:spPr bwMode="auto">
            <a:xfrm>
              <a:off x="4874" y="2573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2" name="Rectangle 61"/>
            <p:cNvSpPr>
              <a:spLocks noChangeArrowheads="1"/>
            </p:cNvSpPr>
            <p:nvPr/>
          </p:nvSpPr>
          <p:spPr bwMode="auto">
            <a:xfrm>
              <a:off x="4712" y="2545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3" name="Rectangle 62"/>
            <p:cNvSpPr>
              <a:spLocks noChangeArrowheads="1"/>
            </p:cNvSpPr>
            <p:nvPr/>
          </p:nvSpPr>
          <p:spPr bwMode="auto">
            <a:xfrm>
              <a:off x="4809" y="2258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4" name="Rectangle 63"/>
            <p:cNvSpPr>
              <a:spLocks noChangeArrowheads="1"/>
            </p:cNvSpPr>
            <p:nvPr/>
          </p:nvSpPr>
          <p:spPr bwMode="auto">
            <a:xfrm>
              <a:off x="4842" y="2430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5" name="Rectangle 64"/>
            <p:cNvSpPr>
              <a:spLocks noChangeArrowheads="1"/>
            </p:cNvSpPr>
            <p:nvPr/>
          </p:nvSpPr>
          <p:spPr bwMode="auto">
            <a:xfrm>
              <a:off x="4972" y="2201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6" name="Rectangle 65"/>
            <p:cNvSpPr>
              <a:spLocks noChangeArrowheads="1"/>
            </p:cNvSpPr>
            <p:nvPr/>
          </p:nvSpPr>
          <p:spPr bwMode="auto">
            <a:xfrm>
              <a:off x="4972" y="2402"/>
              <a:ext cx="114" cy="12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7" name="Rectangle 66"/>
            <p:cNvSpPr>
              <a:spLocks noChangeArrowheads="1"/>
            </p:cNvSpPr>
            <p:nvPr/>
          </p:nvSpPr>
          <p:spPr bwMode="auto">
            <a:xfrm>
              <a:off x="5021" y="2573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8" name="Rectangle 67"/>
            <p:cNvSpPr>
              <a:spLocks noChangeArrowheads="1"/>
            </p:cNvSpPr>
            <p:nvPr/>
          </p:nvSpPr>
          <p:spPr bwMode="auto">
            <a:xfrm>
              <a:off x="5021" y="2058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89" name="Rectangle 68"/>
            <p:cNvSpPr>
              <a:spLocks noChangeArrowheads="1"/>
            </p:cNvSpPr>
            <p:nvPr/>
          </p:nvSpPr>
          <p:spPr bwMode="auto">
            <a:xfrm>
              <a:off x="5119" y="2272"/>
              <a:ext cx="114" cy="12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ＭＳ Ｐゴシック" charset="-128"/>
                <a:ea typeface="ＭＳ Ｐゴシック" charset="-128"/>
              </a:endParaRPr>
            </a:p>
          </p:txBody>
        </p:sp>
        <p:sp>
          <p:nvSpPr>
            <p:cNvPr id="87190" name="Rectangle 179"/>
            <p:cNvSpPr>
              <a:spLocks noChangeArrowheads="1"/>
            </p:cNvSpPr>
            <p:nvPr/>
          </p:nvSpPr>
          <p:spPr bwMode="auto">
            <a:xfrm>
              <a:off x="3208" y="1695"/>
              <a:ext cx="2087" cy="11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ja-JP" altLang="en-US">
                <a:ea typeface="ＭＳ Ｐゴシック" charset="-128"/>
              </a:endParaRPr>
            </a:p>
          </p:txBody>
        </p:sp>
      </p:grpSp>
      <p:grpSp>
        <p:nvGrpSpPr>
          <p:cNvPr id="4" name="Group 258"/>
          <p:cNvGrpSpPr>
            <a:grpSpLocks/>
          </p:cNvGrpSpPr>
          <p:nvPr/>
        </p:nvGrpSpPr>
        <p:grpSpPr bwMode="auto">
          <a:xfrm>
            <a:off x="4794250" y="4714875"/>
            <a:ext cx="3954463" cy="1800225"/>
            <a:chOff x="2927" y="2986"/>
            <a:chExt cx="2584" cy="1228"/>
          </a:xfrm>
        </p:grpSpPr>
        <p:sp>
          <p:nvSpPr>
            <p:cNvPr id="87052" name="Rectangle 77"/>
            <p:cNvSpPr>
              <a:spLocks noChangeArrowheads="1"/>
            </p:cNvSpPr>
            <p:nvPr/>
          </p:nvSpPr>
          <p:spPr bwMode="auto">
            <a:xfrm>
              <a:off x="2927" y="2986"/>
              <a:ext cx="2584" cy="12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lnSpc>
                  <a:spcPct val="100000"/>
                </a:lnSpc>
                <a:buClrTx/>
              </a:pPr>
              <a:endParaRPr lang="en-US" altLang="ja-JP" sz="1800"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87053" name="Rectangle 7"/>
            <p:cNvSpPr>
              <a:spLocks noChangeArrowheads="1"/>
            </p:cNvSpPr>
            <p:nvPr/>
          </p:nvSpPr>
          <p:spPr bwMode="auto">
            <a:xfrm>
              <a:off x="3486" y="3153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4" name="Rectangle 11"/>
            <p:cNvSpPr>
              <a:spLocks noChangeArrowheads="1"/>
            </p:cNvSpPr>
            <p:nvPr/>
          </p:nvSpPr>
          <p:spPr bwMode="auto">
            <a:xfrm>
              <a:off x="3192" y="3300"/>
              <a:ext cx="136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5" name="Rectangle 27"/>
            <p:cNvSpPr>
              <a:spLocks noChangeArrowheads="1"/>
            </p:cNvSpPr>
            <p:nvPr/>
          </p:nvSpPr>
          <p:spPr bwMode="auto">
            <a:xfrm>
              <a:off x="3505" y="3678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6" name="Rectangle 56"/>
            <p:cNvSpPr>
              <a:spLocks noChangeArrowheads="1"/>
            </p:cNvSpPr>
            <p:nvPr/>
          </p:nvSpPr>
          <p:spPr bwMode="auto">
            <a:xfrm>
              <a:off x="3159" y="3153"/>
              <a:ext cx="136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7" name="Rectangle 60"/>
            <p:cNvSpPr>
              <a:spLocks noChangeArrowheads="1"/>
            </p:cNvSpPr>
            <p:nvPr/>
          </p:nvSpPr>
          <p:spPr bwMode="auto">
            <a:xfrm>
              <a:off x="4946" y="3890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8" name="Rectangle 66"/>
            <p:cNvSpPr>
              <a:spLocks noChangeArrowheads="1"/>
            </p:cNvSpPr>
            <p:nvPr/>
          </p:nvSpPr>
          <p:spPr bwMode="auto">
            <a:xfrm>
              <a:off x="5120" y="3905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59" name="Rectangle 71"/>
            <p:cNvSpPr>
              <a:spLocks noChangeArrowheads="1"/>
            </p:cNvSpPr>
            <p:nvPr/>
          </p:nvSpPr>
          <p:spPr bwMode="auto">
            <a:xfrm>
              <a:off x="4332" y="3394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0" name="Rectangle 72"/>
            <p:cNvSpPr>
              <a:spLocks noChangeArrowheads="1"/>
            </p:cNvSpPr>
            <p:nvPr/>
          </p:nvSpPr>
          <p:spPr bwMode="auto">
            <a:xfrm>
              <a:off x="4064" y="3125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1" name="Rectangle 73"/>
            <p:cNvSpPr>
              <a:spLocks noChangeArrowheads="1"/>
            </p:cNvSpPr>
            <p:nvPr/>
          </p:nvSpPr>
          <p:spPr bwMode="auto">
            <a:xfrm>
              <a:off x="3332" y="3337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2" name="Rectangle 74"/>
            <p:cNvSpPr>
              <a:spLocks noChangeArrowheads="1"/>
            </p:cNvSpPr>
            <p:nvPr/>
          </p:nvSpPr>
          <p:spPr bwMode="auto">
            <a:xfrm>
              <a:off x="3028" y="3334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3" name="Rectangle 75"/>
            <p:cNvSpPr>
              <a:spLocks noChangeArrowheads="1"/>
            </p:cNvSpPr>
            <p:nvPr/>
          </p:nvSpPr>
          <p:spPr bwMode="auto">
            <a:xfrm>
              <a:off x="3332" y="3493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4" name="Rectangle 77"/>
            <p:cNvSpPr>
              <a:spLocks noChangeArrowheads="1"/>
            </p:cNvSpPr>
            <p:nvPr/>
          </p:nvSpPr>
          <p:spPr bwMode="auto">
            <a:xfrm>
              <a:off x="4121" y="3635"/>
              <a:ext cx="133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5" name="Rectangle 79"/>
            <p:cNvSpPr>
              <a:spLocks noChangeArrowheads="1"/>
            </p:cNvSpPr>
            <p:nvPr/>
          </p:nvSpPr>
          <p:spPr bwMode="auto">
            <a:xfrm>
              <a:off x="4043" y="3394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6" name="Rectangle 80"/>
            <p:cNvSpPr>
              <a:spLocks noChangeArrowheads="1"/>
            </p:cNvSpPr>
            <p:nvPr/>
          </p:nvSpPr>
          <p:spPr bwMode="auto">
            <a:xfrm>
              <a:off x="4813" y="3578"/>
              <a:ext cx="134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7" name="Rectangle 84"/>
            <p:cNvSpPr>
              <a:spLocks noChangeArrowheads="1"/>
            </p:cNvSpPr>
            <p:nvPr/>
          </p:nvSpPr>
          <p:spPr bwMode="auto">
            <a:xfrm>
              <a:off x="3486" y="3323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8" name="Rectangle 86"/>
            <p:cNvSpPr>
              <a:spLocks noChangeArrowheads="1"/>
            </p:cNvSpPr>
            <p:nvPr/>
          </p:nvSpPr>
          <p:spPr bwMode="auto">
            <a:xfrm>
              <a:off x="3697" y="3493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69" name="Rectangle 87"/>
            <p:cNvSpPr>
              <a:spLocks noChangeArrowheads="1"/>
            </p:cNvSpPr>
            <p:nvPr/>
          </p:nvSpPr>
          <p:spPr bwMode="auto">
            <a:xfrm>
              <a:off x="3794" y="3819"/>
              <a:ext cx="134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0" name="Rectangle 88"/>
            <p:cNvSpPr>
              <a:spLocks noChangeArrowheads="1"/>
            </p:cNvSpPr>
            <p:nvPr/>
          </p:nvSpPr>
          <p:spPr bwMode="auto">
            <a:xfrm>
              <a:off x="4946" y="3422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1" name="Rectangle 89"/>
            <p:cNvSpPr>
              <a:spLocks noChangeArrowheads="1"/>
            </p:cNvSpPr>
            <p:nvPr/>
          </p:nvSpPr>
          <p:spPr bwMode="auto">
            <a:xfrm>
              <a:off x="4754" y="3394"/>
              <a:ext cx="136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2" name="Rectangle 90"/>
            <p:cNvSpPr>
              <a:spLocks noChangeArrowheads="1"/>
            </p:cNvSpPr>
            <p:nvPr/>
          </p:nvSpPr>
          <p:spPr bwMode="auto">
            <a:xfrm>
              <a:off x="4870" y="3110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3" name="Rectangle 93"/>
            <p:cNvSpPr>
              <a:spLocks noChangeArrowheads="1"/>
            </p:cNvSpPr>
            <p:nvPr/>
          </p:nvSpPr>
          <p:spPr bwMode="auto">
            <a:xfrm>
              <a:off x="5044" y="3153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4" name="Rectangle 95"/>
            <p:cNvSpPr>
              <a:spLocks noChangeArrowheads="1"/>
            </p:cNvSpPr>
            <p:nvPr/>
          </p:nvSpPr>
          <p:spPr bwMode="auto">
            <a:xfrm>
              <a:off x="3891" y="3380"/>
              <a:ext cx="133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5" name="Rectangle 97"/>
            <p:cNvSpPr>
              <a:spLocks noChangeArrowheads="1"/>
            </p:cNvSpPr>
            <p:nvPr/>
          </p:nvSpPr>
          <p:spPr bwMode="auto">
            <a:xfrm>
              <a:off x="4332" y="3762"/>
              <a:ext cx="134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6" name="Rectangle 101"/>
            <p:cNvSpPr>
              <a:spLocks noChangeArrowheads="1"/>
            </p:cNvSpPr>
            <p:nvPr/>
          </p:nvSpPr>
          <p:spPr bwMode="auto">
            <a:xfrm>
              <a:off x="4889" y="3621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7" name="Rectangle 103"/>
            <p:cNvSpPr>
              <a:spLocks noChangeArrowheads="1"/>
            </p:cNvSpPr>
            <p:nvPr/>
          </p:nvSpPr>
          <p:spPr bwMode="auto">
            <a:xfrm>
              <a:off x="5081" y="3762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8" name="Rectangle 104"/>
            <p:cNvSpPr>
              <a:spLocks noChangeArrowheads="1"/>
            </p:cNvSpPr>
            <p:nvPr/>
          </p:nvSpPr>
          <p:spPr bwMode="auto">
            <a:xfrm>
              <a:off x="5197" y="3437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79" name="Rectangle 105"/>
            <p:cNvSpPr>
              <a:spLocks noChangeArrowheads="1"/>
            </p:cNvSpPr>
            <p:nvPr/>
          </p:nvSpPr>
          <p:spPr bwMode="auto">
            <a:xfrm>
              <a:off x="5140" y="3621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0" name="Rectangle 107"/>
            <p:cNvSpPr>
              <a:spLocks noChangeArrowheads="1"/>
            </p:cNvSpPr>
            <p:nvPr/>
          </p:nvSpPr>
          <p:spPr bwMode="auto">
            <a:xfrm>
              <a:off x="3179" y="3465"/>
              <a:ext cx="134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1" name="Rectangle 109"/>
            <p:cNvSpPr>
              <a:spLocks noChangeArrowheads="1"/>
            </p:cNvSpPr>
            <p:nvPr/>
          </p:nvSpPr>
          <p:spPr bwMode="auto">
            <a:xfrm>
              <a:off x="4139" y="3493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2" name="Rectangle 112"/>
            <p:cNvSpPr>
              <a:spLocks noChangeArrowheads="1"/>
            </p:cNvSpPr>
            <p:nvPr/>
          </p:nvSpPr>
          <p:spPr bwMode="auto">
            <a:xfrm>
              <a:off x="4409" y="3224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3" name="Rectangle 113"/>
            <p:cNvSpPr>
              <a:spLocks noChangeArrowheads="1"/>
            </p:cNvSpPr>
            <p:nvPr/>
          </p:nvSpPr>
          <p:spPr bwMode="auto">
            <a:xfrm>
              <a:off x="4005" y="3777"/>
              <a:ext cx="134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4" name="Rectangle 114"/>
            <p:cNvSpPr>
              <a:spLocks noChangeArrowheads="1"/>
            </p:cNvSpPr>
            <p:nvPr/>
          </p:nvSpPr>
          <p:spPr bwMode="auto">
            <a:xfrm>
              <a:off x="4159" y="3919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5" name="Rectangle 115"/>
            <p:cNvSpPr>
              <a:spLocks noChangeArrowheads="1"/>
            </p:cNvSpPr>
            <p:nvPr/>
          </p:nvSpPr>
          <p:spPr bwMode="auto">
            <a:xfrm>
              <a:off x="3658" y="3337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6" name="Rectangle 116"/>
            <p:cNvSpPr>
              <a:spLocks noChangeArrowheads="1"/>
            </p:cNvSpPr>
            <p:nvPr/>
          </p:nvSpPr>
          <p:spPr bwMode="auto">
            <a:xfrm>
              <a:off x="3891" y="3238"/>
              <a:ext cx="133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7" name="Rectangle 117"/>
            <p:cNvSpPr>
              <a:spLocks noChangeArrowheads="1"/>
            </p:cNvSpPr>
            <p:nvPr/>
          </p:nvSpPr>
          <p:spPr bwMode="auto">
            <a:xfrm>
              <a:off x="3505" y="3465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8" name="Rectangle 119"/>
            <p:cNvSpPr>
              <a:spLocks noChangeArrowheads="1"/>
            </p:cNvSpPr>
            <p:nvPr/>
          </p:nvSpPr>
          <p:spPr bwMode="auto">
            <a:xfrm>
              <a:off x="4792" y="3834"/>
              <a:ext cx="137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89" name="Rectangle 120"/>
            <p:cNvSpPr>
              <a:spLocks noChangeArrowheads="1"/>
            </p:cNvSpPr>
            <p:nvPr/>
          </p:nvSpPr>
          <p:spPr bwMode="auto">
            <a:xfrm>
              <a:off x="4506" y="3762"/>
              <a:ext cx="133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90" name="Rectangle 243"/>
            <p:cNvSpPr>
              <a:spLocks noChangeArrowheads="1"/>
            </p:cNvSpPr>
            <p:nvPr/>
          </p:nvSpPr>
          <p:spPr bwMode="auto">
            <a:xfrm>
              <a:off x="4697" y="3110"/>
              <a:ext cx="136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91" name="Rectangle 244"/>
            <p:cNvSpPr>
              <a:spLocks noChangeArrowheads="1"/>
            </p:cNvSpPr>
            <p:nvPr/>
          </p:nvSpPr>
          <p:spPr bwMode="auto">
            <a:xfrm>
              <a:off x="4371" y="3039"/>
              <a:ext cx="135" cy="128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grpSp>
          <p:nvGrpSpPr>
            <p:cNvPr id="5" name="Group 222"/>
            <p:cNvGrpSpPr>
              <a:grpSpLocks/>
            </p:cNvGrpSpPr>
            <p:nvPr/>
          </p:nvGrpSpPr>
          <p:grpSpPr bwMode="auto">
            <a:xfrm>
              <a:off x="3343" y="3068"/>
              <a:ext cx="1947" cy="1106"/>
              <a:chOff x="3529" y="2996"/>
              <a:chExt cx="1570" cy="1106"/>
            </a:xfrm>
          </p:grpSpPr>
          <p:sp>
            <p:nvSpPr>
              <p:cNvPr id="87101" name="Rectangle 30"/>
              <p:cNvSpPr>
                <a:spLocks noChangeArrowheads="1"/>
              </p:cNvSpPr>
              <p:nvPr/>
            </p:nvSpPr>
            <p:spPr bwMode="auto">
              <a:xfrm>
                <a:off x="3732" y="3890"/>
                <a:ext cx="108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2" name="Rectangle 70"/>
              <p:cNvSpPr>
                <a:spLocks noChangeArrowheads="1"/>
              </p:cNvSpPr>
              <p:nvPr/>
            </p:nvSpPr>
            <p:spPr bwMode="auto">
              <a:xfrm>
                <a:off x="3529" y="3095"/>
                <a:ext cx="110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3" name="Rectangle 76"/>
              <p:cNvSpPr>
                <a:spLocks noChangeArrowheads="1"/>
              </p:cNvSpPr>
              <p:nvPr/>
            </p:nvSpPr>
            <p:spPr bwMode="auto">
              <a:xfrm>
                <a:off x="3778" y="3719"/>
                <a:ext cx="109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4" name="Rectangle 78"/>
              <p:cNvSpPr>
                <a:spLocks noChangeArrowheads="1"/>
              </p:cNvSpPr>
              <p:nvPr/>
            </p:nvSpPr>
            <p:spPr bwMode="auto">
              <a:xfrm>
                <a:off x="3934" y="3890"/>
                <a:ext cx="108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5" name="Rectangle 81"/>
              <p:cNvSpPr>
                <a:spLocks noChangeArrowheads="1"/>
              </p:cNvSpPr>
              <p:nvPr/>
            </p:nvSpPr>
            <p:spPr bwMode="auto">
              <a:xfrm>
                <a:off x="4213" y="3705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6" name="Rectangle 82"/>
              <p:cNvSpPr>
                <a:spLocks noChangeArrowheads="1"/>
              </p:cNvSpPr>
              <p:nvPr/>
            </p:nvSpPr>
            <p:spPr bwMode="auto">
              <a:xfrm>
                <a:off x="4011" y="3454"/>
                <a:ext cx="110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7" name="Rectangle 83"/>
              <p:cNvSpPr>
                <a:spLocks noChangeArrowheads="1"/>
              </p:cNvSpPr>
              <p:nvPr/>
            </p:nvSpPr>
            <p:spPr bwMode="auto">
              <a:xfrm>
                <a:off x="3976" y="3585"/>
                <a:ext cx="108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8" name="Rectangle 85"/>
              <p:cNvSpPr>
                <a:spLocks noChangeArrowheads="1"/>
              </p:cNvSpPr>
              <p:nvPr/>
            </p:nvSpPr>
            <p:spPr bwMode="auto">
              <a:xfrm>
                <a:off x="4057" y="3833"/>
                <a:ext cx="110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9" name="Rectangle 91"/>
              <p:cNvSpPr>
                <a:spLocks noChangeArrowheads="1"/>
              </p:cNvSpPr>
              <p:nvPr/>
            </p:nvSpPr>
            <p:spPr bwMode="auto">
              <a:xfrm>
                <a:off x="4803" y="3208"/>
                <a:ext cx="110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0" name="Rectangle 92"/>
              <p:cNvSpPr>
                <a:spLocks noChangeArrowheads="1"/>
              </p:cNvSpPr>
              <p:nvPr/>
            </p:nvSpPr>
            <p:spPr bwMode="auto">
              <a:xfrm>
                <a:off x="4121" y="3193"/>
                <a:ext cx="108" cy="129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1" name="Rectangle 94"/>
              <p:cNvSpPr>
                <a:spLocks noChangeArrowheads="1"/>
              </p:cNvSpPr>
              <p:nvPr/>
            </p:nvSpPr>
            <p:spPr bwMode="auto">
              <a:xfrm>
                <a:off x="4260" y="3152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2" name="Rectangle 96"/>
              <p:cNvSpPr>
                <a:spLocks noChangeArrowheads="1"/>
              </p:cNvSpPr>
              <p:nvPr/>
            </p:nvSpPr>
            <p:spPr bwMode="auto">
              <a:xfrm>
                <a:off x="4245" y="2996"/>
                <a:ext cx="108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3" name="Rectangle 98"/>
              <p:cNvSpPr>
                <a:spLocks noChangeArrowheads="1"/>
              </p:cNvSpPr>
              <p:nvPr/>
            </p:nvSpPr>
            <p:spPr bwMode="auto">
              <a:xfrm>
                <a:off x="4509" y="3592"/>
                <a:ext cx="109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4" name="Rectangle 99"/>
              <p:cNvSpPr>
                <a:spLocks noChangeArrowheads="1"/>
              </p:cNvSpPr>
              <p:nvPr/>
            </p:nvSpPr>
            <p:spPr bwMode="auto">
              <a:xfrm>
                <a:off x="4991" y="3222"/>
                <a:ext cx="108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5" name="Rectangle 100"/>
              <p:cNvSpPr>
                <a:spLocks noChangeArrowheads="1"/>
              </p:cNvSpPr>
              <p:nvPr/>
            </p:nvSpPr>
            <p:spPr bwMode="auto">
              <a:xfrm>
                <a:off x="4618" y="3606"/>
                <a:ext cx="109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6" name="Rectangle 102"/>
              <p:cNvSpPr>
                <a:spLocks noChangeArrowheads="1"/>
              </p:cNvSpPr>
              <p:nvPr/>
            </p:nvSpPr>
            <p:spPr bwMode="auto">
              <a:xfrm>
                <a:off x="4913" y="3449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7" name="Rectangle 106"/>
              <p:cNvSpPr>
                <a:spLocks noChangeArrowheads="1"/>
              </p:cNvSpPr>
              <p:nvPr/>
            </p:nvSpPr>
            <p:spPr bwMode="auto">
              <a:xfrm>
                <a:off x="4834" y="3634"/>
                <a:ext cx="109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8" name="Rectangle 108"/>
              <p:cNvSpPr>
                <a:spLocks noChangeArrowheads="1"/>
              </p:cNvSpPr>
              <p:nvPr/>
            </p:nvSpPr>
            <p:spPr bwMode="auto">
              <a:xfrm>
                <a:off x="4104" y="3974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19" name="Rectangle 110"/>
              <p:cNvSpPr>
                <a:spLocks noChangeArrowheads="1"/>
              </p:cNvSpPr>
              <p:nvPr/>
            </p:nvSpPr>
            <p:spPr bwMode="auto">
              <a:xfrm>
                <a:off x="4570" y="3449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0" name="Rectangle 111"/>
              <p:cNvSpPr>
                <a:spLocks noChangeArrowheads="1"/>
              </p:cNvSpPr>
              <p:nvPr/>
            </p:nvSpPr>
            <p:spPr bwMode="auto">
              <a:xfrm>
                <a:off x="3839" y="3577"/>
                <a:ext cx="110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1" name="Rectangle 118"/>
              <p:cNvSpPr>
                <a:spLocks noChangeArrowheads="1"/>
              </p:cNvSpPr>
              <p:nvPr/>
            </p:nvSpPr>
            <p:spPr bwMode="auto">
              <a:xfrm>
                <a:off x="4415" y="3464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2" name="Rectangle 121"/>
              <p:cNvSpPr>
                <a:spLocks noChangeArrowheads="1"/>
              </p:cNvSpPr>
              <p:nvPr/>
            </p:nvSpPr>
            <p:spPr bwMode="auto">
              <a:xfrm>
                <a:off x="4462" y="3294"/>
                <a:ext cx="109" cy="127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3" name="Rectangle 122"/>
              <p:cNvSpPr>
                <a:spLocks noChangeArrowheads="1"/>
              </p:cNvSpPr>
              <p:nvPr/>
            </p:nvSpPr>
            <p:spPr bwMode="auto">
              <a:xfrm>
                <a:off x="4509" y="3038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4" name="Rectangle 242"/>
              <p:cNvSpPr>
                <a:spLocks noChangeArrowheads="1"/>
              </p:cNvSpPr>
              <p:nvPr/>
            </p:nvSpPr>
            <p:spPr bwMode="auto">
              <a:xfrm>
                <a:off x="4602" y="3180"/>
                <a:ext cx="108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25" name="Rectangle 245"/>
              <p:cNvSpPr>
                <a:spLocks noChangeArrowheads="1"/>
              </p:cNvSpPr>
              <p:nvPr/>
            </p:nvSpPr>
            <p:spPr bwMode="auto">
              <a:xfrm>
                <a:off x="3964" y="3010"/>
                <a:ext cx="109" cy="128"/>
              </a:xfrm>
              <a:prstGeom prst="rect">
                <a:avLst/>
              </a:prstGeom>
              <a:solidFill>
                <a:srgbClr val="FF6600"/>
              </a:solidFill>
              <a:ln w="9525" algn="ctr">
                <a:solidFill>
                  <a:srgbClr val="FF66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</p:grpSp>
        <p:sp>
          <p:nvSpPr>
            <p:cNvPr id="87093" name="Rectangle 246"/>
            <p:cNvSpPr>
              <a:spLocks noChangeArrowheads="1"/>
            </p:cNvSpPr>
            <p:nvPr/>
          </p:nvSpPr>
          <p:spPr bwMode="auto">
            <a:xfrm>
              <a:off x="4274" y="3621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sp>
          <p:nvSpPr>
            <p:cNvPr id="87094" name="Rectangle 247"/>
            <p:cNvSpPr>
              <a:spLocks noChangeArrowheads="1"/>
            </p:cNvSpPr>
            <p:nvPr/>
          </p:nvSpPr>
          <p:spPr bwMode="auto">
            <a:xfrm>
              <a:off x="3621" y="3196"/>
              <a:ext cx="135" cy="127"/>
            </a:xfrm>
            <a:prstGeom prst="rect">
              <a:avLst/>
            </a:prstGeom>
            <a:solidFill>
              <a:srgbClr val="FFCC99"/>
            </a:solidFill>
            <a:ln w="9525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buClr>
                  <a:srgbClr val="FF9933"/>
                </a:buClr>
                <a:buFontTx/>
                <a:buChar char="•"/>
              </a:pPr>
              <a:endParaRPr lang="en-US" altLang="ja-JP" sz="1600">
                <a:solidFill>
                  <a:srgbClr val="FF9900"/>
                </a:solidFill>
                <a:latin typeface="GillSans"/>
                <a:ea typeface="ＭＳ Ｐゴシック" charset="-128"/>
              </a:endParaRPr>
            </a:p>
          </p:txBody>
        </p:sp>
        <p:grpSp>
          <p:nvGrpSpPr>
            <p:cNvPr id="6" name="Group 250"/>
            <p:cNvGrpSpPr>
              <a:grpSpLocks/>
            </p:cNvGrpSpPr>
            <p:nvPr/>
          </p:nvGrpSpPr>
          <p:grpSpPr bwMode="auto">
            <a:xfrm>
              <a:off x="3099" y="3025"/>
              <a:ext cx="2248" cy="1150"/>
              <a:chOff x="3342" y="2953"/>
              <a:chExt cx="1819" cy="1150"/>
            </a:xfrm>
          </p:grpSpPr>
          <p:sp>
            <p:nvSpPr>
              <p:cNvPr id="87096" name="Oval 46"/>
              <p:cNvSpPr>
                <a:spLocks noChangeArrowheads="1"/>
              </p:cNvSpPr>
              <p:nvPr/>
            </p:nvSpPr>
            <p:spPr bwMode="auto">
              <a:xfrm>
                <a:off x="3342" y="3038"/>
                <a:ext cx="467" cy="568"/>
              </a:xfrm>
              <a:prstGeom prst="ellipse">
                <a:avLst/>
              </a:prstGeom>
              <a:noFill/>
              <a:ln w="28575" algn="ctr">
                <a:solidFill>
                  <a:srgbClr val="8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097" name="Oval 47"/>
              <p:cNvSpPr>
                <a:spLocks noChangeArrowheads="1"/>
              </p:cNvSpPr>
              <p:nvPr/>
            </p:nvSpPr>
            <p:spPr bwMode="auto">
              <a:xfrm>
                <a:off x="3700" y="3379"/>
                <a:ext cx="669" cy="724"/>
              </a:xfrm>
              <a:prstGeom prst="ellipse">
                <a:avLst/>
              </a:prstGeom>
              <a:noFill/>
              <a:ln w="28575" algn="ctr">
                <a:solidFill>
                  <a:srgbClr val="8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098" name="Oval 48"/>
              <p:cNvSpPr>
                <a:spLocks noChangeArrowheads="1"/>
              </p:cNvSpPr>
              <p:nvPr/>
            </p:nvSpPr>
            <p:spPr bwMode="auto">
              <a:xfrm>
                <a:off x="3826" y="3010"/>
                <a:ext cx="840" cy="363"/>
              </a:xfrm>
              <a:prstGeom prst="ellipse">
                <a:avLst/>
              </a:prstGeom>
              <a:noFill/>
              <a:ln w="28575" algn="ctr">
                <a:solidFill>
                  <a:srgbClr val="8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099" name="Oval 49"/>
              <p:cNvSpPr>
                <a:spLocks noChangeArrowheads="1"/>
              </p:cNvSpPr>
              <p:nvPr/>
            </p:nvSpPr>
            <p:spPr bwMode="auto">
              <a:xfrm>
                <a:off x="4664" y="2953"/>
                <a:ext cx="497" cy="1008"/>
              </a:xfrm>
              <a:prstGeom prst="ellipse">
                <a:avLst/>
              </a:prstGeom>
              <a:noFill/>
              <a:ln w="28575" algn="ctr">
                <a:solidFill>
                  <a:srgbClr val="8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  <p:sp>
            <p:nvSpPr>
              <p:cNvPr id="87100" name="Oval 59"/>
              <p:cNvSpPr>
                <a:spLocks noChangeArrowheads="1"/>
              </p:cNvSpPr>
              <p:nvPr/>
            </p:nvSpPr>
            <p:spPr bwMode="auto">
              <a:xfrm>
                <a:off x="4369" y="3393"/>
                <a:ext cx="295" cy="454"/>
              </a:xfrm>
              <a:prstGeom prst="ellipse">
                <a:avLst/>
              </a:prstGeom>
              <a:noFill/>
              <a:ln w="28575" algn="ctr">
                <a:solidFill>
                  <a:srgbClr val="8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l">
                  <a:buClr>
                    <a:srgbClr val="FF9933"/>
                  </a:buClr>
                  <a:buFontTx/>
                  <a:buChar char="•"/>
                </a:pPr>
                <a:endParaRPr lang="en-US" altLang="ja-JP" sz="1600">
                  <a:solidFill>
                    <a:srgbClr val="FF9900"/>
                  </a:solidFill>
                  <a:latin typeface="GillSans"/>
                  <a:ea typeface="ＭＳ Ｐゴシック" charset="-128"/>
                </a:endParaRPr>
              </a:p>
            </p:txBody>
          </p:sp>
        </p:grpSp>
      </p:grpSp>
      <p:sp>
        <p:nvSpPr>
          <p:cNvPr id="292" name="AutoShape 264"/>
          <p:cNvSpPr>
            <a:spLocks noChangeArrowheads="1"/>
          </p:cNvSpPr>
          <p:nvPr/>
        </p:nvSpPr>
        <p:spPr bwMode="auto">
          <a:xfrm flipV="1">
            <a:off x="1512888" y="2589213"/>
            <a:ext cx="1800225" cy="274637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ja-JP" altLang="en-US" sz="1600">
              <a:latin typeface="+mn-ea"/>
            </a:endParaRPr>
          </a:p>
        </p:txBody>
      </p:sp>
      <p:sp>
        <p:nvSpPr>
          <p:cNvPr id="293" name="AutoShape 265"/>
          <p:cNvSpPr>
            <a:spLocks noChangeArrowheads="1"/>
          </p:cNvSpPr>
          <p:nvPr/>
        </p:nvSpPr>
        <p:spPr bwMode="auto">
          <a:xfrm flipV="1">
            <a:off x="1512888" y="4533900"/>
            <a:ext cx="1800225" cy="27305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ja-JP" altLang="en-US" sz="1600">
              <a:latin typeface="+mn-ea"/>
            </a:endParaRPr>
          </a:p>
        </p:txBody>
      </p:sp>
      <p:sp>
        <p:nvSpPr>
          <p:cNvPr id="294" name="AutoShape 18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0200" y="960438"/>
            <a:ext cx="4164013" cy="15287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72000" tIns="36000" rIns="72000" bIns="36000" anchor="ctr"/>
          <a:lstStyle/>
          <a:p>
            <a:pPr algn="l">
              <a:lnSpc>
                <a:spcPct val="100000"/>
              </a:lnSpc>
              <a:spcBef>
                <a:spcPct val="30000"/>
              </a:spcBef>
              <a:buClrTx/>
              <a:tabLst>
                <a:tab pos="85725" algn="l"/>
              </a:tabLst>
              <a:defRPr/>
            </a:pPr>
            <a:r>
              <a:rPr kumimoji="1" lang="en-US" altLang="ja-JP" sz="1800" dirty="0"/>
              <a:t>Analyzed individual papers included in the “Scopus” database</a:t>
            </a:r>
            <a:endParaRPr kumimoji="1" lang="ja-JP" altLang="en-US" sz="1800" dirty="0"/>
          </a:p>
          <a:p>
            <a:pPr marL="542925" lvl="1" indent="-184150" algn="l">
              <a:lnSpc>
                <a:spcPct val="100000"/>
              </a:lnSpc>
              <a:spcBef>
                <a:spcPct val="30000"/>
              </a:spcBef>
              <a:buClrTx/>
              <a:buFontTx/>
              <a:buChar char="•"/>
              <a:tabLst>
                <a:tab pos="85725" algn="l"/>
              </a:tabLst>
              <a:defRPr/>
            </a:pPr>
            <a:r>
              <a:rPr kumimoji="1" lang="en-US" altLang="ja-JP" sz="1800" dirty="0"/>
              <a:t>Did </a:t>
            </a:r>
            <a:r>
              <a:rPr kumimoji="1" lang="en-US" altLang="ja-JP" sz="1800" u="sng" dirty="0"/>
              <a:t>not</a:t>
            </a:r>
            <a:r>
              <a:rPr kumimoji="1" lang="en-US" altLang="ja-JP" sz="1800" dirty="0"/>
              <a:t> take into account </a:t>
            </a:r>
            <a:r>
              <a:rPr kumimoji="1" lang="en-US" altLang="ja-JP" sz="1800" i="1" dirty="0"/>
              <a:t>which journal </a:t>
            </a:r>
            <a:r>
              <a:rPr kumimoji="1" lang="en-US" altLang="ja-JP" sz="1800" dirty="0"/>
              <a:t>the papers is published in</a:t>
            </a:r>
            <a:endParaRPr kumimoji="1" lang="ja-JP" altLang="en-US" sz="1800" dirty="0"/>
          </a:p>
        </p:txBody>
      </p:sp>
      <p:sp>
        <p:nvSpPr>
          <p:cNvPr id="295" name="AutoShape 25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0200" y="2905125"/>
            <a:ext cx="4164013" cy="15287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72000" tIns="36000" rIns="72000" bIns="36000" anchor="ctr"/>
          <a:lstStyle/>
          <a:p>
            <a:pPr algn="l">
              <a:lnSpc>
                <a:spcPct val="100000"/>
              </a:lnSpc>
              <a:spcBef>
                <a:spcPct val="30000"/>
              </a:spcBef>
              <a:buClrTx/>
              <a:tabLst>
                <a:tab pos="85725" algn="l"/>
              </a:tabLst>
              <a:defRPr/>
            </a:pPr>
            <a:r>
              <a:rPr kumimoji="1" lang="en-US" altLang="ja-JP" sz="1800" dirty="0"/>
              <a:t>Conducted </a:t>
            </a:r>
            <a:r>
              <a:rPr kumimoji="1" lang="en-US" altLang="ja-JP" sz="1800" i="1" dirty="0"/>
              <a:t>Co-citation Analysis</a:t>
            </a:r>
            <a:endParaRPr kumimoji="1" lang="ja-JP" altLang="en-US" sz="1800" i="1" dirty="0"/>
          </a:p>
          <a:p>
            <a:pPr marL="542925" lvl="1" indent="-184150" algn="l">
              <a:lnSpc>
                <a:spcPct val="100000"/>
              </a:lnSpc>
              <a:spcBef>
                <a:spcPct val="30000"/>
              </a:spcBef>
              <a:buClrTx/>
              <a:buFontTx/>
              <a:buChar char="•"/>
              <a:tabLst>
                <a:tab pos="85725" algn="l"/>
              </a:tabLst>
              <a:defRPr/>
            </a:pPr>
            <a:r>
              <a:rPr kumimoji="1" lang="en-US" altLang="ja-JP" sz="1800" dirty="0"/>
              <a:t>Basic way of thinking: </a:t>
            </a:r>
            <a:br>
              <a:rPr kumimoji="1" lang="en-US" altLang="ja-JP" sz="1800" dirty="0"/>
            </a:br>
            <a:r>
              <a:rPr kumimoji="1" lang="en-US" altLang="ja-JP" sz="1800" i="1" dirty="0"/>
              <a:t>If two papers are citing the same paper, we assume that they are conducting similar research</a:t>
            </a:r>
            <a:endParaRPr kumimoji="1" lang="ja-JP" altLang="en-US" sz="1800" i="1" dirty="0"/>
          </a:p>
        </p:txBody>
      </p:sp>
      <p:sp>
        <p:nvSpPr>
          <p:cNvPr id="296" name="AutoShape 26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0200" y="4851400"/>
            <a:ext cx="4164013" cy="15287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72000" tIns="36000" rIns="72000" bIns="36000" anchor="ctr"/>
          <a:lstStyle/>
          <a:p>
            <a:pPr algn="l">
              <a:lnSpc>
                <a:spcPct val="100000"/>
              </a:lnSpc>
              <a:spcBef>
                <a:spcPct val="30000"/>
              </a:spcBef>
              <a:buClrTx/>
              <a:tabLst>
                <a:tab pos="85725" algn="l"/>
              </a:tabLst>
              <a:defRPr/>
            </a:pPr>
            <a:r>
              <a:rPr kumimoji="1" lang="en-US" altLang="ja-JP" sz="1800" dirty="0"/>
              <a:t>Identified papers which were published by your country/university’s researchers</a:t>
            </a:r>
            <a:endParaRPr kumimoji="1" lang="ja-JP" altLang="en-US" sz="1800" dirty="0"/>
          </a:p>
          <a:p>
            <a:pPr marL="542925" lvl="1" indent="-184150" algn="l">
              <a:lnSpc>
                <a:spcPct val="100000"/>
              </a:lnSpc>
              <a:spcBef>
                <a:spcPct val="30000"/>
              </a:spcBef>
              <a:buClrTx/>
              <a:buFontTx/>
              <a:buChar char="•"/>
              <a:tabLst>
                <a:tab pos="85725" algn="l"/>
              </a:tabLst>
              <a:defRPr/>
            </a:pPr>
            <a:r>
              <a:rPr kumimoji="1" lang="en-US" altLang="ja-JP" sz="1800" dirty="0"/>
              <a:t>Important information to define if your university has strength in the research area</a:t>
            </a:r>
            <a:endParaRPr kumimoji="1" lang="ja-JP" altLang="en-US" sz="1800" dirty="0"/>
          </a:p>
        </p:txBody>
      </p:sp>
      <p:sp>
        <p:nvSpPr>
          <p:cNvPr id="87051" name="タイトル 260"/>
          <p:cNvSpPr>
            <a:spLocks noGrp="1"/>
          </p:cNvSpPr>
          <p:nvPr>
            <p:ph type="title"/>
          </p:nvPr>
        </p:nvSpPr>
        <p:spPr>
          <a:xfrm>
            <a:off x="395288" y="-171450"/>
            <a:ext cx="8748712" cy="836613"/>
          </a:xfrm>
        </p:spPr>
        <p:txBody>
          <a:bodyPr/>
          <a:lstStyle/>
          <a:p>
            <a:pPr marL="182563" indent="-182563"/>
            <a:r>
              <a:rPr lang="en-US" dirty="0" smtClean="0">
                <a:latin typeface="Arial" pitchFamily="34" charset="0"/>
                <a:cs typeface="Arial" pitchFamily="34" charset="0"/>
              </a:rPr>
              <a:t>METHODOLOG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338" name="Straight Connector 29"/>
          <p:cNvCxnSpPr>
            <a:cxnSpLocks noChangeShapeType="1"/>
          </p:cNvCxnSpPr>
          <p:nvPr/>
        </p:nvCxnSpPr>
        <p:spPr bwMode="auto">
          <a:xfrm>
            <a:off x="228600" y="5791200"/>
            <a:ext cx="861060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4339" name="Title 1"/>
          <p:cNvSpPr>
            <a:spLocks noGrp="1"/>
          </p:cNvSpPr>
          <p:nvPr>
            <p:ph type="title"/>
          </p:nvPr>
        </p:nvSpPr>
        <p:spPr>
          <a:xfrm>
            <a:off x="395288" y="-190500"/>
            <a:ext cx="8353425" cy="836613"/>
          </a:xfrm>
        </p:spPr>
        <p:txBody>
          <a:bodyPr/>
          <a:lstStyle/>
          <a:p>
            <a:r>
              <a:rPr lang="en-US" dirty="0" smtClean="0"/>
              <a:t>THE COMPONENTS OF SCIVAL</a:t>
            </a:r>
          </a:p>
        </p:txBody>
      </p:sp>
      <p:pic>
        <p:nvPicPr>
          <p:cNvPr id="14340" name="Picture 2" descr="st-widget-{image: SciVal Experts Text two lines colour.jpg size==0x120}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9800" y="1066800"/>
            <a:ext cx="17335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Picture 4" descr="st-widget-{image: SciVal Funding Text two lines rgb.jpg size==0x120}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00" y="3276600"/>
            <a:ext cx="18764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Picture 6" descr="st-widget-{image: SciVal Strata Text two lines rgb.jpg size==0x120}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77025" y="3200400"/>
            <a:ext cx="15525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8" descr="st-widget-{image: SciVal Spotlight Text two lines rgb.jpg size==0x120}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81600" y="990600"/>
            <a:ext cx="21050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4" name="Oval 7"/>
          <p:cNvSpPr>
            <a:spLocks noChangeArrowheads="1"/>
          </p:cNvSpPr>
          <p:nvPr/>
        </p:nvSpPr>
        <p:spPr bwMode="auto">
          <a:xfrm>
            <a:off x="4038600" y="5638800"/>
            <a:ext cx="2209800" cy="106680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88900" indent="-88900" algn="ctr">
              <a:lnSpc>
                <a:spcPct val="130000"/>
              </a:lnSpc>
              <a:buClr>
                <a:srgbClr val="000000"/>
              </a:buClr>
            </a:pPr>
            <a:r>
              <a:rPr lang="en-US" sz="2000" b="1">
                <a:latin typeface="Calibri" pitchFamily="34" charset="0"/>
              </a:rPr>
              <a:t>Scopus Dataset</a:t>
            </a:r>
          </a:p>
        </p:txBody>
      </p:sp>
      <p:sp>
        <p:nvSpPr>
          <p:cNvPr id="14345" name="TextBox 8"/>
          <p:cNvSpPr txBox="1">
            <a:spLocks noChangeArrowheads="1"/>
          </p:cNvSpPr>
          <p:nvPr/>
        </p:nvSpPr>
        <p:spPr bwMode="auto">
          <a:xfrm>
            <a:off x="76200" y="2209800"/>
            <a:ext cx="1066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/>
              <a:t>Online Tools</a:t>
            </a:r>
          </a:p>
        </p:txBody>
      </p:sp>
      <p:sp>
        <p:nvSpPr>
          <p:cNvPr id="14346" name="TextBox 9"/>
          <p:cNvSpPr txBox="1">
            <a:spLocks noChangeArrowheads="1"/>
          </p:cNvSpPr>
          <p:nvPr/>
        </p:nvSpPr>
        <p:spPr bwMode="auto">
          <a:xfrm>
            <a:off x="152400" y="5464175"/>
            <a:ext cx="1066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/>
              <a:t>Source Data</a:t>
            </a:r>
          </a:p>
        </p:txBody>
      </p:sp>
      <p:sp>
        <p:nvSpPr>
          <p:cNvPr id="14347" name="Oval 10"/>
          <p:cNvSpPr>
            <a:spLocks noChangeArrowheads="1"/>
          </p:cNvSpPr>
          <p:nvPr/>
        </p:nvSpPr>
        <p:spPr bwMode="auto">
          <a:xfrm>
            <a:off x="3505200" y="5257800"/>
            <a:ext cx="1447800" cy="762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88900" indent="-88900" algn="ctr">
              <a:lnSpc>
                <a:spcPct val="130000"/>
              </a:lnSpc>
              <a:buClr>
                <a:srgbClr val="000000"/>
              </a:buClr>
            </a:pPr>
            <a:r>
              <a:rPr lang="en-US" sz="1400" b="1">
                <a:latin typeface="Calibri" pitchFamily="34" charset="0"/>
              </a:rPr>
              <a:t>Funding Bodies</a:t>
            </a:r>
          </a:p>
        </p:txBody>
      </p:sp>
      <p:sp>
        <p:nvSpPr>
          <p:cNvPr id="14348" name="Rectangle 11"/>
          <p:cNvSpPr>
            <a:spLocks noChangeArrowheads="1"/>
          </p:cNvSpPr>
          <p:nvPr/>
        </p:nvSpPr>
        <p:spPr bwMode="auto">
          <a:xfrm>
            <a:off x="2133600" y="2209800"/>
            <a:ext cx="2438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/>
              <a:t>Identify expertise and enable collaboration</a:t>
            </a:r>
          </a:p>
        </p:txBody>
      </p:sp>
      <p:sp>
        <p:nvSpPr>
          <p:cNvPr id="14349" name="Rectangle 12"/>
          <p:cNvSpPr>
            <a:spLocks noChangeArrowheads="1"/>
          </p:cNvSpPr>
          <p:nvPr/>
        </p:nvSpPr>
        <p:spPr bwMode="auto">
          <a:xfrm>
            <a:off x="1219200" y="4419600"/>
            <a:ext cx="2667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/>
              <a:t>Maximize chances for award success</a:t>
            </a:r>
          </a:p>
        </p:txBody>
      </p:sp>
      <p:sp>
        <p:nvSpPr>
          <p:cNvPr id="14350" name="Rectangle 13"/>
          <p:cNvSpPr>
            <a:spLocks noChangeArrowheads="1"/>
          </p:cNvSpPr>
          <p:nvPr/>
        </p:nvSpPr>
        <p:spPr bwMode="auto">
          <a:xfrm>
            <a:off x="5105400" y="2209800"/>
            <a:ext cx="2438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/>
              <a:t>Shed light on research strengths </a:t>
            </a:r>
          </a:p>
        </p:txBody>
      </p:sp>
      <p:sp>
        <p:nvSpPr>
          <p:cNvPr id="14351" name="Rectangle 14"/>
          <p:cNvSpPr>
            <a:spLocks noChangeArrowheads="1"/>
          </p:cNvSpPr>
          <p:nvPr/>
        </p:nvSpPr>
        <p:spPr bwMode="auto">
          <a:xfrm>
            <a:off x="6629400" y="4419600"/>
            <a:ext cx="21336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/>
              <a:t>Measure and compare individual and team performance</a:t>
            </a:r>
          </a:p>
        </p:txBody>
      </p:sp>
      <p:cxnSp>
        <p:nvCxnSpPr>
          <p:cNvPr id="14352" name="Straight Arrow Connector 18"/>
          <p:cNvCxnSpPr>
            <a:cxnSpLocks noChangeShapeType="1"/>
            <a:stCxn id="14344" idx="0"/>
            <a:endCxn id="14348" idx="2"/>
          </p:cNvCxnSpPr>
          <p:nvPr/>
        </p:nvCxnSpPr>
        <p:spPr bwMode="auto">
          <a:xfrm rot="16200000" flipV="1">
            <a:off x="2795587" y="3290888"/>
            <a:ext cx="2905125" cy="1790700"/>
          </a:xfrm>
          <a:prstGeom prst="straightConnector1">
            <a:avLst/>
          </a:prstGeom>
          <a:noFill/>
          <a:ln w="12700" algn="ctr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14353" name="Straight Arrow Connector 21"/>
          <p:cNvCxnSpPr>
            <a:cxnSpLocks noChangeShapeType="1"/>
            <a:stCxn id="14344" idx="0"/>
            <a:endCxn id="14350" idx="2"/>
          </p:cNvCxnSpPr>
          <p:nvPr/>
        </p:nvCxnSpPr>
        <p:spPr bwMode="auto">
          <a:xfrm rot="5400000" flipH="1" flipV="1">
            <a:off x="4281487" y="3595688"/>
            <a:ext cx="2905125" cy="1181100"/>
          </a:xfrm>
          <a:prstGeom prst="straightConnector1">
            <a:avLst/>
          </a:prstGeom>
          <a:noFill/>
          <a:ln w="12700" algn="ctr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14354" name="Straight Arrow Connector 23"/>
          <p:cNvCxnSpPr>
            <a:cxnSpLocks noChangeShapeType="1"/>
            <a:stCxn id="14347" idx="1"/>
            <a:endCxn id="14349" idx="2"/>
          </p:cNvCxnSpPr>
          <p:nvPr/>
        </p:nvCxnSpPr>
        <p:spPr bwMode="auto">
          <a:xfrm rot="16200000" flipV="1">
            <a:off x="2922588" y="4573587"/>
            <a:ext cx="425450" cy="1165225"/>
          </a:xfrm>
          <a:prstGeom prst="straightConnector1">
            <a:avLst/>
          </a:prstGeom>
          <a:noFill/>
          <a:ln w="12700" algn="ctr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14355" name="Straight Arrow Connector 25"/>
          <p:cNvCxnSpPr>
            <a:cxnSpLocks noChangeShapeType="1"/>
            <a:stCxn id="14344" idx="7"/>
            <a:endCxn id="14351" idx="2"/>
          </p:cNvCxnSpPr>
          <p:nvPr/>
        </p:nvCxnSpPr>
        <p:spPr bwMode="auto">
          <a:xfrm rot="5400000" flipH="1" flipV="1">
            <a:off x="6492081" y="4590257"/>
            <a:ext cx="636587" cy="1771650"/>
          </a:xfrm>
          <a:prstGeom prst="straightConnector1">
            <a:avLst/>
          </a:prstGeom>
          <a:noFill/>
          <a:ln w="12700" algn="ctr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0"/>
            <a:ext cx="8748712" cy="836613"/>
          </a:xfrm>
        </p:spPr>
        <p:txBody>
          <a:bodyPr/>
          <a:lstStyle/>
          <a:p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>IMPLICATIONS</a:t>
            </a:r>
            <a:b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</a:br>
            <a:r>
              <a:rPr lang="en-US" altLang="ja-JP" dirty="0" smtClean="0">
                <a:latin typeface="+mn-lt"/>
                <a:ea typeface="ＭＳ Ｐゴシック" charset="-128"/>
                <a:cs typeface="Arial" pitchFamily="34" charset="0"/>
              </a:rPr>
              <a:t>HOW CAN WE USE THESE DATA FOR FUTURE PLANNING?</a:t>
            </a:r>
          </a:p>
        </p:txBody>
      </p:sp>
      <p:sp>
        <p:nvSpPr>
          <p:cNvPr id="91139" name="スライド番号プレースホルダ 45"/>
          <p:cNvSpPr txBox="1">
            <a:spLocks noGrp="1"/>
          </p:cNvSpPr>
          <p:nvPr/>
        </p:nvSpPr>
        <p:spPr bwMode="auto">
          <a:xfrm>
            <a:off x="8653463" y="6548438"/>
            <a:ext cx="5159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91F8530A-5A3E-42D0-B3FE-B5527D7C1A11}" type="slidenum">
              <a:rPr lang="ja-JP" altLang="en-US" sz="1100">
                <a:solidFill>
                  <a:srgbClr val="383838"/>
                </a:solidFill>
                <a:ea typeface="ＭＳ Ｐゴシック" charset="-128"/>
              </a:rPr>
              <a:pPr/>
              <a:t>9</a:t>
            </a:fld>
            <a:endParaRPr lang="en-US" altLang="ja-JP" sz="1100">
              <a:solidFill>
                <a:srgbClr val="383838"/>
              </a:solidFill>
              <a:ea typeface="ＭＳ Ｐゴシック" charset="-128"/>
            </a:endParaRPr>
          </a:p>
        </p:txBody>
      </p:sp>
      <p:sp>
        <p:nvSpPr>
          <p:cNvPr id="40" name="Rectangle 110"/>
          <p:cNvSpPr>
            <a:spLocks noChangeArrowheads="1"/>
          </p:cNvSpPr>
          <p:nvPr/>
        </p:nvSpPr>
        <p:spPr bwMode="auto">
          <a:xfrm>
            <a:off x="5026025" y="1725613"/>
            <a:ext cx="3600450" cy="2154237"/>
          </a:xfrm>
          <a:prstGeom prst="roundRect">
            <a:avLst>
              <a:gd name="adj" fmla="val 9593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08000" tIns="36000" rIns="108000" bIns="36000" anchor="ctr"/>
          <a:lstStyle/>
          <a:p>
            <a:pPr marL="177800" indent="-177800" algn="l">
              <a:lnSpc>
                <a:spcPts val="2800"/>
              </a:lnSpc>
              <a:buClr>
                <a:srgbClr val="FFFFFF"/>
              </a:buClr>
              <a:buSzPct val="125000"/>
              <a:buFont typeface="Arial" pitchFamily="34" charset="0"/>
              <a:buChar char="•"/>
              <a:defRPr/>
            </a:pP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dentifying Potential</a:t>
            </a:r>
            <a:b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sz="2000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llaboration</a:t>
            </a: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Targets</a:t>
            </a:r>
            <a:endParaRPr lang="en-US" altLang="ja-JP" sz="2000" b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10"/>
          <p:cNvSpPr>
            <a:spLocks noChangeArrowheads="1"/>
          </p:cNvSpPr>
          <p:nvPr/>
        </p:nvSpPr>
        <p:spPr bwMode="auto">
          <a:xfrm>
            <a:off x="5026025" y="4125913"/>
            <a:ext cx="3600450" cy="2154237"/>
          </a:xfrm>
          <a:prstGeom prst="roundRect">
            <a:avLst>
              <a:gd name="adj" fmla="val 9593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08000" tIns="36000" rIns="108000" bIns="36000" anchor="ctr"/>
          <a:lstStyle/>
          <a:p>
            <a:pPr marL="177800" indent="-177800" algn="l">
              <a:lnSpc>
                <a:spcPts val="2800"/>
              </a:lnSpc>
              <a:buClr>
                <a:srgbClr val="FFFFFF"/>
              </a:buClr>
              <a:buSzPct val="125000"/>
              <a:buFont typeface="Arial" pitchFamily="34" charset="0"/>
              <a:buChar char="•"/>
              <a:defRPr/>
            </a:pP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dentifying Potential </a:t>
            </a:r>
            <a:b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sz="2000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cruitment</a:t>
            </a: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Target</a:t>
            </a:r>
          </a:p>
          <a:p>
            <a:pPr marL="177800" indent="-177800" algn="l">
              <a:lnSpc>
                <a:spcPts val="2800"/>
              </a:lnSpc>
              <a:buClr>
                <a:srgbClr val="FFFFFF"/>
              </a:buClr>
              <a:buSzPct val="125000"/>
              <a:buFont typeface="Arial" pitchFamily="34" charset="0"/>
              <a:buChar char="•"/>
              <a:defRPr/>
            </a:pP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easuring </a:t>
            </a:r>
            <a:r>
              <a:rPr lang="en-US" altLang="ja-JP" sz="2000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cted </a:t>
            </a:r>
            <a:br>
              <a:rPr lang="en-US" altLang="ja-JP" sz="2000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sz="2000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mpact</a:t>
            </a:r>
            <a:r>
              <a:rPr lang="en-US" altLang="ja-JP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from Recruitment</a:t>
            </a:r>
          </a:p>
        </p:txBody>
      </p:sp>
      <p:sp>
        <p:nvSpPr>
          <p:cNvPr id="91142" name="二等辺三角形 41"/>
          <p:cNvSpPr>
            <a:spLocks noChangeArrowheads="1"/>
          </p:cNvSpPr>
          <p:nvPr/>
        </p:nvSpPr>
        <p:spPr bwMode="auto">
          <a:xfrm rot="5400000">
            <a:off x="3889375" y="2636838"/>
            <a:ext cx="1492250" cy="330200"/>
          </a:xfrm>
          <a:prstGeom prst="triangle">
            <a:avLst>
              <a:gd name="adj" fmla="val 50000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en-US" sz="2000" b="1">
              <a:solidFill>
                <a:srgbClr val="4B4B4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143" name="二等辺三角形 42"/>
          <p:cNvSpPr>
            <a:spLocks noChangeArrowheads="1"/>
          </p:cNvSpPr>
          <p:nvPr/>
        </p:nvSpPr>
        <p:spPr bwMode="auto">
          <a:xfrm rot="5400000">
            <a:off x="3889375" y="5037138"/>
            <a:ext cx="1492250" cy="330200"/>
          </a:xfrm>
          <a:prstGeom prst="triangle">
            <a:avLst>
              <a:gd name="adj" fmla="val 50000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en-US" sz="2000" b="1">
              <a:solidFill>
                <a:srgbClr val="4B4B4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110"/>
          <p:cNvSpPr>
            <a:spLocks noChangeArrowheads="1"/>
          </p:cNvSpPr>
          <p:nvPr/>
        </p:nvSpPr>
        <p:spPr bwMode="auto">
          <a:xfrm>
            <a:off x="2032000" y="1725613"/>
            <a:ext cx="2173288" cy="215423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36000" bIns="72000" anchor="ctr"/>
          <a:lstStyle/>
          <a:p>
            <a:pPr algn="l">
              <a:lnSpc>
                <a:spcPts val="2500"/>
              </a:lnSpc>
              <a:defRPr/>
            </a:pP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ich </a:t>
            </a:r>
            <a:r>
              <a:rPr lang="en-US" altLang="ja-JP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lobal</a:t>
            </a:r>
            <a:br>
              <a:rPr lang="en-US" altLang="ja-JP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stitutions</a:t>
            </a: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re</a:t>
            </a:r>
            <a:b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ducting research</a:t>
            </a:r>
            <a:b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 similar areas?</a:t>
            </a:r>
          </a:p>
        </p:txBody>
      </p:sp>
      <p:sp>
        <p:nvSpPr>
          <p:cNvPr id="45" name="Rectangle 110"/>
          <p:cNvSpPr>
            <a:spLocks noChangeArrowheads="1"/>
          </p:cNvSpPr>
          <p:nvPr/>
        </p:nvSpPr>
        <p:spPr bwMode="auto">
          <a:xfrm>
            <a:off x="2032000" y="4125913"/>
            <a:ext cx="2173288" cy="215423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36000" bIns="72000" anchor="ctr"/>
          <a:lstStyle/>
          <a:p>
            <a:pPr algn="l">
              <a:lnSpc>
                <a:spcPts val="2500"/>
              </a:lnSpc>
              <a:defRPr/>
            </a:pP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ich </a:t>
            </a:r>
            <a:r>
              <a:rPr lang="en-US" altLang="ja-JP" b="1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earchers</a:t>
            </a:r>
            <a:r>
              <a:rPr lang="en-US" altLang="ja-JP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re actively conducting research in those areas?</a:t>
            </a:r>
          </a:p>
        </p:txBody>
      </p:sp>
      <p:sp>
        <p:nvSpPr>
          <p:cNvPr id="46" name="Rectangle 110"/>
          <p:cNvSpPr>
            <a:spLocks noChangeArrowheads="1"/>
          </p:cNvSpPr>
          <p:nvPr/>
        </p:nvSpPr>
        <p:spPr bwMode="auto">
          <a:xfrm>
            <a:off x="482600" y="1725613"/>
            <a:ext cx="1409700" cy="457358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08000" tIns="36000" rIns="108000" bIns="36000" anchor="ctr"/>
          <a:lstStyle/>
          <a:p>
            <a:pPr algn="ctr">
              <a:lnSpc>
                <a:spcPts val="2800"/>
              </a:lnSpc>
              <a:defRPr/>
            </a:pPr>
            <a:r>
              <a:rPr lang="en-US" altLang="ja-JP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  <a:t>Your</a:t>
            </a:r>
            <a:br>
              <a:rPr lang="en-US" altLang="ja-JP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  <a:t>University’s</a:t>
            </a:r>
            <a:br>
              <a:rPr lang="en-US" altLang="ja-JP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</a:br>
            <a:r>
              <a:rPr lang="en-US" altLang="ja-JP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  <a:t>Strengths</a:t>
            </a:r>
            <a:endParaRPr lang="en-US" altLang="ja-JP" dirty="0">
              <a:solidFill>
                <a:srgbClr val="4B4B4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925513"/>
            <a:ext cx="37496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altLang="ja-JP" sz="2000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  <a:t>Data Available</a:t>
            </a:r>
            <a:endParaRPr lang="ja-JP" altLang="en-US" sz="2000" b="1" dirty="0">
              <a:solidFill>
                <a:srgbClr val="4B4B4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38725" y="912813"/>
            <a:ext cx="3546475" cy="592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38100" dir="5400000" algn="ctr" rotWithShape="0">
              <a:schemeClr val="tx2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contourW="25400">
            <a:bevelB/>
            <a:extrusionClr>
              <a:schemeClr val="bg1"/>
            </a:extrusionClr>
            <a:contourClr>
              <a:schemeClr val="bg1"/>
            </a:contourClr>
          </a:sp3d>
        </p:spPr>
        <p:txBody>
          <a:bodyPr tIns="72000" bIns="36000" anchor="b"/>
          <a:lstStyle/>
          <a:p>
            <a:pPr algn="ctr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altLang="ja-JP" sz="2000" b="1" dirty="0">
                <a:solidFill>
                  <a:srgbClr val="4B4B4B"/>
                </a:solidFill>
                <a:latin typeface="Arial" pitchFamily="34" charset="0"/>
                <a:cs typeface="Arial" pitchFamily="34" charset="0"/>
              </a:rPr>
              <a:t>Implications (Example)</a:t>
            </a:r>
            <a:endParaRPr lang="ja-JP" altLang="en-US" sz="2000" b="1" dirty="0">
              <a:solidFill>
                <a:srgbClr val="4B4B4B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6MW16WQU23yNOF.m7g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6Mh08p0mFm28bbazV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JOAa0U00iZNBtVCgRP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B2zrBNP0eZ42.71PRw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YkzKlmqkGrRFuunaZq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bc0XNPdkKKTUHvBku8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wJF_lWK0G291El00u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42q2hckG5zGQq4gCd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nPc0I4Um9sFSOIsMa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zKTeIizEK59DxSYTN2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cEpr3f0U21p9Iceywo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vI_ctYDk6yTV6YYQHT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ypKv17tUi5_jwNGGQ0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hP59l.XkSeJ4iyPDrz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bpnB.epkqJFSBS8uxo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y_IZTnbUyounPlwhbS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Q3k7nbpESCDtULoqW6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b9ZJq9bkaxpwoE2keR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E0SSClZ0iJt.KVL.gX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OPZuJQUC4ZNlj6mAj2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VJwvtHwkqEQKnEr1w9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bnnsH6C0iQZ2ZAbJbc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uav59BjUmWUfJolDD9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P_1rpiOU2ETX3bPRTo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c6E0WeS02RpnIhEanN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8wOuVEGkCDobVAt0vi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1y.pvCLUePuRIzaM0r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pkhuF6UUmKLxq4hHDG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YrGdiYN0S5yxTpBofs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CgZMJqU0yb0KhCSR5Z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mTKathMU6.eo2MtwGM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ZzhTzj00ygyikhZU.5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ZzhTzj00ygyikhZU.5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u6_su2fUyCevW2FWeE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ZzhTzj00ygyikhZU.5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DybPA0BkmaZKNFqdbRH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fbr71BOEq00znWZhNQ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vkOofGeUas46b4Xmda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rpyNrmPUuaoH3KwHyG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Ul_3K0_keYCe2vj5Tu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ahToOIWEyWlp2LU_xFFg"/>
</p:tagLst>
</file>

<file path=ppt/theme/theme1.xml><?xml version="1.0" encoding="utf-8"?>
<a:theme xmlns:a="http://schemas.openxmlformats.org/drawingml/2006/main" name="1_Custom Design">
  <a:themeElements>
    <a:clrScheme name="Custom 8">
      <a:dk1>
        <a:srgbClr val="4B4B4B"/>
      </a:dk1>
      <a:lt1>
        <a:srgbClr val="FFFFFF"/>
      </a:lt1>
      <a:dk2>
        <a:srgbClr val="006699"/>
      </a:dk2>
      <a:lt2>
        <a:srgbClr val="999999"/>
      </a:lt2>
      <a:accent1>
        <a:srgbClr val="6FCBDC"/>
      </a:accent1>
      <a:accent2>
        <a:srgbClr val="A6D2DC"/>
      </a:accent2>
      <a:accent3>
        <a:srgbClr val="FFFFFF"/>
      </a:accent3>
      <a:accent4>
        <a:srgbClr val="3F3F3F"/>
      </a:accent4>
      <a:accent5>
        <a:srgbClr val="BBE2EB"/>
      </a:accent5>
      <a:accent6>
        <a:srgbClr val="96BEC7"/>
      </a:accent6>
      <a:hlink>
        <a:srgbClr val="006699"/>
      </a:hlink>
      <a:folHlink>
        <a:srgbClr val="4D8099"/>
      </a:folHlink>
    </a:clrScheme>
    <a:fontScheme name="1_Custom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88900" marR="0" indent="-88900" algn="r" defTabSz="914400" rtl="0" eaLnBrk="1" fontAlgn="base" latinLnBrk="0" hangingPunct="1">
          <a:lnSpc>
            <a:spcPct val="130000"/>
          </a:lnSpc>
          <a:spcBef>
            <a:spcPct val="0"/>
          </a:spcBef>
          <a:spcAft>
            <a:spcPct val="0"/>
          </a:spcAft>
          <a:buClr>
            <a:srgbClr val="000000"/>
          </a:buClr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88900" marR="0" indent="-88900" algn="r" defTabSz="914400" rtl="0" eaLnBrk="1" fontAlgn="base" latinLnBrk="0" hangingPunct="1">
          <a:lnSpc>
            <a:spcPct val="130000"/>
          </a:lnSpc>
          <a:spcBef>
            <a:spcPct val="0"/>
          </a:spcBef>
          <a:spcAft>
            <a:spcPct val="0"/>
          </a:spcAft>
          <a:buClr>
            <a:srgbClr val="000000"/>
          </a:buClr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1_Custom Design 1">
        <a:dk1>
          <a:srgbClr val="4B4B4B"/>
        </a:dk1>
        <a:lt1>
          <a:srgbClr val="FFFFFF"/>
        </a:lt1>
        <a:dk2>
          <a:srgbClr val="006699"/>
        </a:dk2>
        <a:lt2>
          <a:srgbClr val="999999"/>
        </a:lt2>
        <a:accent1>
          <a:srgbClr val="6FCBDC"/>
        </a:accent1>
        <a:accent2>
          <a:srgbClr val="A6D2DC"/>
        </a:accent2>
        <a:accent3>
          <a:srgbClr val="FFFFFF"/>
        </a:accent3>
        <a:accent4>
          <a:srgbClr val="3F3F3F"/>
        </a:accent4>
        <a:accent5>
          <a:srgbClr val="BBE2EB"/>
        </a:accent5>
        <a:accent6>
          <a:srgbClr val="96BEC7"/>
        </a:accent6>
        <a:hlink>
          <a:srgbClr val="CBCBCB"/>
        </a:hlink>
        <a:folHlink>
          <a:srgbClr val="4D80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19</TotalTime>
  <Words>1202</Words>
  <Application>Microsoft Office PowerPoint</Application>
  <PresentationFormat>On-screen Show (4:3)</PresentationFormat>
  <Paragraphs>341</Paragraphs>
  <Slides>3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1_Custom Design</vt:lpstr>
      <vt:lpstr>think-cell Slide</vt:lpstr>
      <vt:lpstr>SciVal -  Making data more visible and accessible for effective research management  " Bilimsel Araştırmalarda Performans Değerlendirme ve Rekabet"</vt:lpstr>
      <vt:lpstr>WHAT DO WE HEAR?</vt:lpstr>
      <vt:lpstr>REASONS VARY, BUT GLOBAL R&amp;D INVESTMENTS ARE GROWING</vt:lpstr>
      <vt:lpstr>THE POWER OF R&amp;D INVESTMENTS – AN EXAMPLE</vt:lpstr>
      <vt:lpstr>Slide 5</vt:lpstr>
      <vt:lpstr>New global leaders are emerging</vt:lpstr>
      <vt:lpstr>METHODOLOGY</vt:lpstr>
      <vt:lpstr>THE COMPONENTS OF SCIVAL</vt:lpstr>
      <vt:lpstr>IMPLICATIONS HOW CAN WE USE THESE DATA FOR FUTURE PLANNING?</vt:lpstr>
      <vt:lpstr>SCIVAL SPOTLIGHT – HOME PAGE</vt:lpstr>
      <vt:lpstr>STATISTICS</vt:lpstr>
      <vt:lpstr>STATISTICS ... CONTINUED</vt:lpstr>
      <vt:lpstr>Top Countries in the World</vt:lpstr>
      <vt:lpstr>Countries Graph...Based on No of Articles</vt:lpstr>
      <vt:lpstr>Top Countries in the World ... Based on Growth</vt:lpstr>
      <vt:lpstr>Countries Graph...Based on Growth</vt:lpstr>
      <vt:lpstr>Turkish Institutions </vt:lpstr>
      <vt:lpstr>Turkish Institutions </vt:lpstr>
      <vt:lpstr>Turkey’s National Strengths</vt:lpstr>
      <vt:lpstr>“Snapshot” of national research strength areas</vt:lpstr>
      <vt:lpstr>Research Strengths of other Nations</vt:lpstr>
      <vt:lpstr>Countries conducting research activity  in areas as Turkey’s national strengths</vt:lpstr>
      <vt:lpstr>Collaboration targets? – Brazilian Institutions actively conducting research in Turkey’s strength areas</vt:lpstr>
      <vt:lpstr>Collaboration targets? – Indian Institutions actively conducting research in Turkey’s strength areas</vt:lpstr>
      <vt:lpstr>Collaboration targets? – Iranian Institutions actively conducting research in Turkey’s strength areas</vt:lpstr>
      <vt:lpstr>Collaboration targets? – US Institutions actively conducting research in Turkey’s strength areas</vt:lpstr>
      <vt:lpstr>HARVARD UNIVERSITY AND TURKEY</vt:lpstr>
      <vt:lpstr>COMPETING AUTHORS IN A TURKEY STRENGTH</vt:lpstr>
      <vt:lpstr>LEARN MORE ABOUT THE AUTHOR IN SCIVERSE SCOPUS</vt:lpstr>
      <vt:lpstr>COMPARE AUTHOR PERFORMANCE</vt:lpstr>
      <vt:lpstr>CITED VS UNCITED DOCUMENTS</vt:lpstr>
      <vt:lpstr>FIND RESEARCHERS USING SCIVAL EXPERTS</vt:lpstr>
      <vt:lpstr>SCIVAL EXPERTS</vt:lpstr>
      <vt:lpstr> BASE DATA FOR ANALYSIS - SCIVERSE “SCOPUS”</vt:lpstr>
      <vt:lpstr>ELSEVIER VARIOUS “SOLUTIONS” FOR VARIOUS “CHALLENGES”</vt:lpstr>
      <vt:lpstr>Summary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-</dc:title>
  <dc:subject/>
  <dc:creator/>
  <cp:lastModifiedBy>Reed Elsevier</cp:lastModifiedBy>
  <cp:revision>795</cp:revision>
  <dcterms:created xsi:type="dcterms:W3CDTF">2009-03-11T03:20:08Z</dcterms:created>
  <dcterms:modified xsi:type="dcterms:W3CDTF">2011-05-25T06:08:49Z</dcterms:modified>
</cp:coreProperties>
</file>